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23" r:id="rId1"/>
  </p:sldMasterIdLst>
  <p:notesMasterIdLst>
    <p:notesMasterId r:id="rId10"/>
  </p:notesMasterIdLst>
  <p:handoutMasterIdLst>
    <p:handoutMasterId r:id="rId11"/>
  </p:handoutMasterIdLst>
  <p:sldIdLst>
    <p:sldId id="679" r:id="rId2"/>
    <p:sldId id="705" r:id="rId3"/>
    <p:sldId id="1014" r:id="rId4"/>
    <p:sldId id="707" r:id="rId5"/>
    <p:sldId id="706" r:id="rId6"/>
    <p:sldId id="1007" r:id="rId7"/>
    <p:sldId id="1013" r:id="rId8"/>
    <p:sldId id="1015" r:id="rId9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>
        <p15:guide id="1" orient="horz" pos="3126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v.plotnikova" initials="v" lastIdx="1" clrIdx="0"/>
  <p:cmAuthor id="7" name="Miroshnikova Ekaterina" initials="ME" lastIdx="10" clrIdx="7">
    <p:extLst>
      <p:ext uri="{19B8F6BF-5375-455C-9EA6-DF929625EA0E}">
        <p15:presenceInfo xmlns:p15="http://schemas.microsoft.com/office/powerpoint/2012/main" xmlns="" userId="S-1-5-21-197357510-1654374389-2993364858-14932" providerId="AD"/>
      </p:ext>
    </p:extLst>
  </p:cmAuthor>
  <p:cmAuthor id="1" name="Pchelko Aleksey" initials="PA" lastIdx="5" clrIdx="1"/>
  <p:cmAuthor id="2" name="Shesterneva Elena" initials="SE" lastIdx="1" clrIdx="2"/>
  <p:cmAuthor id="3" name="Laponova Alena" initials="LA" lastIdx="3" clrIdx="3"/>
  <p:cmAuthor id="4" name="Mazur Evgeniy" initials="ME" lastIdx="1" clrIdx="4">
    <p:extLst>
      <p:ext uri="{19B8F6BF-5375-455C-9EA6-DF929625EA0E}">
        <p15:presenceInfo xmlns:p15="http://schemas.microsoft.com/office/powerpoint/2012/main" xmlns="" userId="S-1-5-21-197357510-1654374389-2993364858-3058" providerId="AD"/>
      </p:ext>
    </p:extLst>
  </p:cmAuthor>
  <p:cmAuthor id="5" name="Karpova Inna" initials="KI" lastIdx="5" clrIdx="5">
    <p:extLst>
      <p:ext uri="{19B8F6BF-5375-455C-9EA6-DF929625EA0E}">
        <p15:presenceInfo xmlns:p15="http://schemas.microsoft.com/office/powerpoint/2012/main" xmlns="" userId="S-1-5-21-197357510-1654374389-2993364858-1187" providerId="AD"/>
      </p:ext>
    </p:extLst>
  </p:cmAuthor>
  <p:cmAuthor id="6" name="Mazurok Vladislav" initials="MV" lastIdx="4" clrIdx="6">
    <p:extLst>
      <p:ext uri="{19B8F6BF-5375-455C-9EA6-DF929625EA0E}">
        <p15:presenceInfo xmlns:p15="http://schemas.microsoft.com/office/powerpoint/2012/main" xmlns="" userId="S-1-5-21-197357510-1654374389-2993364858-313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65788"/>
    <a:srgbClr val="5482AB"/>
    <a:srgbClr val="C1E0F5"/>
    <a:srgbClr val="3C8A2E"/>
    <a:srgbClr val="E6E7E8"/>
    <a:srgbClr val="FFFFFF"/>
    <a:srgbClr val="000000"/>
    <a:srgbClr val="D52B1E"/>
    <a:srgbClr val="19398A"/>
    <a:srgbClr val="54B9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46F890A9-2807-4EBB-B81D-B2AA78EC7F39}" styleName="Темный стиль 2 -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Темный стиль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64" autoAdjust="0"/>
    <p:restoredTop sz="94306" autoAdjust="0"/>
  </p:normalViewPr>
  <p:slideViewPr>
    <p:cSldViewPr>
      <p:cViewPr>
        <p:scale>
          <a:sx n="66" d="100"/>
          <a:sy n="66" d="100"/>
        </p:scale>
        <p:origin x="-2256" y="-6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2700" y="-84"/>
      </p:cViewPr>
      <p:guideLst>
        <p:guide orient="horz" pos="3126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4958" cy="496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12" tIns="46356" rIns="92712" bIns="46356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24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1"/>
            <a:ext cx="2944958" cy="496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12" tIns="46356" rIns="92712" bIns="46356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24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258"/>
            <a:ext cx="2944958" cy="496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12" tIns="46356" rIns="92712" bIns="46356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24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431258"/>
            <a:ext cx="2944958" cy="496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12" tIns="46356" rIns="92712" bIns="46356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0E3F7F5D-AFBE-4704-AAA6-C019820E9A8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9770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4958" cy="496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12" tIns="46356" rIns="92712" bIns="46356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1"/>
            <a:ext cx="2944958" cy="496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12" tIns="46356" rIns="92712" bIns="46356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6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6125"/>
            <a:ext cx="4962525" cy="37226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2" y="4715629"/>
            <a:ext cx="4985394" cy="4467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12" tIns="46356" rIns="92712" bIns="4635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419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258"/>
            <a:ext cx="2944958" cy="496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12" tIns="46356" rIns="92712" bIns="46356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19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431258"/>
            <a:ext cx="2944958" cy="496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12" tIns="46356" rIns="92712" bIns="46356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F2084FC7-96F2-4183-8F40-4325C7C507A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326005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98092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01138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324D59C-13FF-4891-AF8A-7938DB53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E44FB34F-0239-44D6-A762-90E715F7DF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6A187467-0228-4125-980E-8F404F19C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94FA1FD4-B2D1-42F2-B7A0-0145715B5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17BACF8-5D45-464E-9CC8-CFCD2E392A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4EB2D-D22E-4EA7-85BB-A69C072CA7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44867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CBF7E04-0740-478A-B525-1DBEE5921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1F21D498-96A3-4392-B3DC-F6F67042D0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7F66CE24-21A5-4844-81B8-4B15206B3A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C4C858E2-CBE7-46C4-AC0C-DFFD95AD1C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1CBABA17-CFF5-4208-A15B-B77C304864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4EB2D-D22E-4EA7-85BB-A69C072CA7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40328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DAA25677-0645-46A8-B94F-2C212273BA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398DEF0B-F45E-4E1D-BBEC-3BDDDC0F02C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2123B014-2F54-404F-A858-5DFD35B9AB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525958A0-0BCB-4C75-9D22-BA5E646C4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16A7F275-79F4-4143-8854-822513F30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4EB2D-D22E-4EA7-85BB-A69C072CA7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64461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2"/>
          <p:cNvSpPr>
            <a:spLocks noGrp="1"/>
          </p:cNvSpPr>
          <p:nvPr>
            <p:ph type="pic" idx="1"/>
          </p:nvPr>
        </p:nvSpPr>
        <p:spPr>
          <a:xfrm>
            <a:off x="-14458" y="0"/>
            <a:ext cx="9158457" cy="55569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251521" y="5610749"/>
            <a:ext cx="6696744" cy="41053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1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Подзаголовок 2"/>
          <p:cNvSpPr>
            <a:spLocks noGrp="1"/>
          </p:cNvSpPr>
          <p:nvPr>
            <p:ph type="subTitle" idx="10"/>
          </p:nvPr>
        </p:nvSpPr>
        <p:spPr>
          <a:xfrm>
            <a:off x="251520" y="6021288"/>
            <a:ext cx="6696744" cy="64807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22072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Слайд с заголовком раздела (чисты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8641791" y="6555581"/>
            <a:ext cx="197085" cy="1595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pic>
        <p:nvPicPr>
          <p:cNvPr id="4" name="Picture 2" descr="C:\Dima_Works\Logo\Logo_Neo_Centre_NEW\Logo_new_nabor\Logo_NEO_Centre_pantone_rus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5" y="6502400"/>
            <a:ext cx="1314450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Номер слайда 6"/>
          <p:cNvSpPr>
            <a:spLocks noGrp="1"/>
          </p:cNvSpPr>
          <p:nvPr>
            <p:ph type="sldNum" sz="quarter" idx="10"/>
          </p:nvPr>
        </p:nvSpPr>
        <p:spPr>
          <a:xfrm>
            <a:off x="8541413" y="6448294"/>
            <a:ext cx="400843" cy="365125"/>
          </a:xfrm>
          <a:prstGeom prst="rect">
            <a:avLst/>
          </a:prstGeom>
        </p:spPr>
        <p:txBody>
          <a:bodyPr anchor="ctr"/>
          <a:lstStyle>
            <a:lvl1pPr algn="ctr">
              <a:defRPr sz="90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fld id="{8A20C306-9D25-4635-9757-4909DAADAD96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8641791" y="6555581"/>
            <a:ext cx="197085" cy="1595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pic>
        <p:nvPicPr>
          <p:cNvPr id="8" name="Picture 2" descr="C:\Dima_Works\Logo\Logo_Neo_Centre_NEW\Logo_new_nabor\Logo_NEO_Centre_pantone_rus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5" y="6502400"/>
            <a:ext cx="1314450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/>
          <p:cNvSpPr/>
          <p:nvPr userDrawn="1"/>
        </p:nvSpPr>
        <p:spPr>
          <a:xfrm>
            <a:off x="8641791" y="6555581"/>
            <a:ext cx="197085" cy="1595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pic>
        <p:nvPicPr>
          <p:cNvPr id="11" name="Picture 2" descr="C:\Dima_Works\Logo\Logo_Neo_Centre_NEW\Logo_new_nabor\Logo_NEO_Centre_pantone_rus.jp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5" y="6502400"/>
            <a:ext cx="1314450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 userDrawn="1"/>
        </p:nvSpPr>
        <p:spPr>
          <a:xfrm>
            <a:off x="7031038" y="6526213"/>
            <a:ext cx="1573212" cy="2301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rgbClr val="3C8A2E"/>
                </a:solidFill>
                <a:latin typeface="Calibri" pitchFamily="34" charset="0"/>
              </a:rPr>
              <a:t>БОЛЬШЕ ЧЕМ КОНСАЛТИНГ</a:t>
            </a:r>
          </a:p>
        </p:txBody>
      </p:sp>
      <p:sp>
        <p:nvSpPr>
          <p:cNvPr id="13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264121" y="58316"/>
            <a:ext cx="8639671" cy="562372"/>
          </a:xfrm>
          <a:prstGeom prst="rect">
            <a:avLst/>
          </a:prstGeom>
        </p:spPr>
        <p:txBody>
          <a:bodyPr anchor="ctr"/>
          <a:lstStyle>
            <a:lvl1pPr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одержание</a:t>
            </a:r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0" y="0"/>
            <a:ext cx="9144000" cy="6926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16804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Слайд с заголовком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3059832" y="3044452"/>
            <a:ext cx="5367942" cy="1680692"/>
          </a:xfrm>
          <a:prstGeom prst="rect">
            <a:avLst/>
          </a:prstGeom>
        </p:spPr>
        <p:txBody>
          <a:bodyPr anchor="t"/>
          <a:lstStyle>
            <a:lvl1pPr>
              <a:buNone/>
              <a:defRPr sz="20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8641791" y="6555581"/>
            <a:ext cx="197085" cy="1595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pic>
        <p:nvPicPr>
          <p:cNvPr id="4" name="Picture 2" descr="C:\Dima_Works\Logo\Logo_Neo_Centre_NEW\Logo_new_nabor\Logo_NEO_Centre_pantone_rus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5" y="6502400"/>
            <a:ext cx="1314450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7031038" y="6526213"/>
            <a:ext cx="1573212" cy="2301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rgbClr val="3C8A2E"/>
                </a:solidFill>
                <a:latin typeface="Calibri" pitchFamily="34" charset="0"/>
              </a:rPr>
              <a:t>БОЛЬШЕ ЧЕМ КОНСАЛТИНГ</a:t>
            </a:r>
          </a:p>
        </p:txBody>
      </p:sp>
      <p:sp>
        <p:nvSpPr>
          <p:cNvPr id="6" name="Номер слайда 6"/>
          <p:cNvSpPr>
            <a:spLocks noGrp="1"/>
          </p:cNvSpPr>
          <p:nvPr>
            <p:ph type="sldNum" sz="quarter" idx="10"/>
          </p:nvPr>
        </p:nvSpPr>
        <p:spPr>
          <a:xfrm>
            <a:off x="8541413" y="6448294"/>
            <a:ext cx="400843" cy="365125"/>
          </a:xfrm>
          <a:prstGeom prst="rect">
            <a:avLst/>
          </a:prstGeom>
        </p:spPr>
        <p:txBody>
          <a:bodyPr anchor="ctr"/>
          <a:lstStyle>
            <a:lvl1pPr algn="ctr">
              <a:defRPr sz="90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fld id="{8A20C306-9D25-4635-9757-4909DAADAD96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8" name="Текст 10"/>
          <p:cNvSpPr>
            <a:spLocks noGrp="1"/>
          </p:cNvSpPr>
          <p:nvPr>
            <p:ph type="body" sz="quarter" idx="12" hasCustomPrompt="1"/>
          </p:nvPr>
        </p:nvSpPr>
        <p:spPr>
          <a:xfrm>
            <a:off x="3059832" y="2492896"/>
            <a:ext cx="5367942" cy="504056"/>
          </a:xfrm>
          <a:prstGeom prst="rect">
            <a:avLst/>
          </a:prstGeom>
        </p:spPr>
        <p:txBody>
          <a:bodyPr anchor="ctr"/>
          <a:lstStyle>
            <a:lvl1pPr>
              <a:buNone/>
              <a:defRPr sz="18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/>
              <a:t>Номер раздела</a:t>
            </a:r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3059832" y="3020702"/>
            <a:ext cx="5400600" cy="0"/>
          </a:xfrm>
          <a:prstGeom prst="line">
            <a:avLst/>
          </a:prstGeom>
          <a:ln w="12700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64694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Основной слайд (чисты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8641791" y="6555581"/>
            <a:ext cx="197085" cy="1595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250825" y="644525"/>
            <a:ext cx="8642350" cy="0"/>
          </a:xfrm>
          <a:prstGeom prst="line">
            <a:avLst/>
          </a:prstGeom>
          <a:ln w="6350" cap="flat" cmpd="thickThin">
            <a:solidFill>
              <a:srgbClr val="5482AB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 descr="C:\Dima_Works\Logo\Logo_Neo_Centre_NEW\Logo_new_nabor\Logo_NEO_Centre_pantone_rus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5" y="6502400"/>
            <a:ext cx="1314450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Номер слайда 6"/>
          <p:cNvSpPr>
            <a:spLocks noGrp="1"/>
          </p:cNvSpPr>
          <p:nvPr>
            <p:ph type="sldNum" sz="quarter" idx="10"/>
          </p:nvPr>
        </p:nvSpPr>
        <p:spPr>
          <a:xfrm>
            <a:off x="8541413" y="6448294"/>
            <a:ext cx="400843" cy="365125"/>
          </a:xfrm>
          <a:prstGeom prst="rect">
            <a:avLst/>
          </a:prstGeom>
        </p:spPr>
        <p:txBody>
          <a:bodyPr anchor="ctr"/>
          <a:lstStyle>
            <a:lvl1pPr algn="ctr">
              <a:defRPr sz="90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fld id="{8A20C306-9D25-4635-9757-4909DAADAD96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8641791" y="6555581"/>
            <a:ext cx="197085" cy="1595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50825" y="644525"/>
            <a:ext cx="8642350" cy="0"/>
          </a:xfrm>
          <a:prstGeom prst="line">
            <a:avLst/>
          </a:prstGeom>
          <a:ln w="6350" cap="flat" cmpd="thickThin">
            <a:solidFill>
              <a:srgbClr val="5482AB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C:\Dima_Works\Logo\Logo_Neo_Centre_NEW\Logo_new_nabor\Logo_NEO_Centre_pantone_rus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5" y="6502400"/>
            <a:ext cx="1314450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Прямоугольник 10"/>
          <p:cNvSpPr/>
          <p:nvPr userDrawn="1"/>
        </p:nvSpPr>
        <p:spPr>
          <a:xfrm>
            <a:off x="8641791" y="6555581"/>
            <a:ext cx="197085" cy="1595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pic>
        <p:nvPicPr>
          <p:cNvPr id="13" name="Picture 2" descr="C:\Dima_Works\Logo\Logo_Neo_Centre_NEW\Logo_new_nabor\Logo_NEO_Centre_pantone_rus.jp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5" y="6502400"/>
            <a:ext cx="1314450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3"/>
          <p:cNvSpPr txBox="1"/>
          <p:nvPr userDrawn="1"/>
        </p:nvSpPr>
        <p:spPr>
          <a:xfrm>
            <a:off x="7031038" y="6526213"/>
            <a:ext cx="1573212" cy="2301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rgbClr val="3C8A2E"/>
                </a:solidFill>
                <a:latin typeface="Calibri" pitchFamily="34" charset="0"/>
              </a:rPr>
              <a:t>БОЛЬШЕ ЧЕМ КОНСАЛТИНГ</a:t>
            </a:r>
          </a:p>
        </p:txBody>
      </p:sp>
      <p:sp>
        <p:nvSpPr>
          <p:cNvPr id="15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264121" y="58316"/>
            <a:ext cx="8639671" cy="562372"/>
          </a:xfrm>
          <a:prstGeom prst="rect">
            <a:avLst/>
          </a:prstGeom>
        </p:spPr>
        <p:txBody>
          <a:bodyPr anchor="ctr"/>
          <a:lstStyle>
            <a:lvl1pPr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одержание</a:t>
            </a:r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0" y="0"/>
            <a:ext cx="9144000" cy="6926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51687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Слдай содержание (с текстовыми блокам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8641791" y="6555581"/>
            <a:ext cx="197085" cy="1595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pic>
        <p:nvPicPr>
          <p:cNvPr id="4" name="Picture 2" descr="C:\Dima_Works\Logo\Logo_Neo_Centre_NEW\Logo_new_nabor\Logo_NEO_Centre_pantone_rus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5" y="6502400"/>
            <a:ext cx="1314450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7031038" y="6526213"/>
            <a:ext cx="1573212" cy="2301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rgbClr val="3C8A2E"/>
                </a:solidFill>
                <a:latin typeface="Calibri" pitchFamily="34" charset="0"/>
              </a:rPr>
              <a:t>БОЛЬШЕ ЧЕМ КОНСАЛТИНГ</a:t>
            </a:r>
          </a:p>
        </p:txBody>
      </p:sp>
      <p:sp>
        <p:nvSpPr>
          <p:cNvPr id="6" name="Номер слайда 6"/>
          <p:cNvSpPr>
            <a:spLocks noGrp="1"/>
          </p:cNvSpPr>
          <p:nvPr>
            <p:ph type="sldNum" sz="quarter" idx="10"/>
          </p:nvPr>
        </p:nvSpPr>
        <p:spPr>
          <a:xfrm>
            <a:off x="8541413" y="6448294"/>
            <a:ext cx="400843" cy="365125"/>
          </a:xfrm>
          <a:prstGeom prst="rect">
            <a:avLst/>
          </a:prstGeom>
        </p:spPr>
        <p:txBody>
          <a:bodyPr anchor="ctr"/>
          <a:lstStyle>
            <a:lvl1pPr algn="ctr">
              <a:defRPr sz="90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fld id="{8A20C306-9D25-4635-9757-4909DAADAD96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9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264121" y="58316"/>
            <a:ext cx="8639671" cy="562372"/>
          </a:xfrm>
          <a:prstGeom prst="rect">
            <a:avLst/>
          </a:prstGeom>
        </p:spPr>
        <p:txBody>
          <a:bodyPr anchor="ctr"/>
          <a:lstStyle>
            <a:lvl1pPr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одержание</a:t>
            </a: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926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37123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 (с текстовыми блокам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8641791" y="6555581"/>
            <a:ext cx="197085" cy="1595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pic>
        <p:nvPicPr>
          <p:cNvPr id="4" name="Picture 2" descr="C:\Dima_Works\Logo\Logo_Neo_Centre_NEW\Logo_new_nabor\Logo_NEO_Centre_pantone_rus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5" y="6502400"/>
            <a:ext cx="1314450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7031038" y="6526213"/>
            <a:ext cx="1573212" cy="2301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rgbClr val="3C8A2E"/>
                </a:solidFill>
                <a:latin typeface="Calibri" pitchFamily="34" charset="0"/>
              </a:rPr>
              <a:t>БОЛЬШЕ ЧЕМ КОНСАЛТИНГ</a:t>
            </a:r>
          </a:p>
        </p:txBody>
      </p:sp>
      <p:sp>
        <p:nvSpPr>
          <p:cNvPr id="6" name="Номер слайда 6"/>
          <p:cNvSpPr>
            <a:spLocks noGrp="1"/>
          </p:cNvSpPr>
          <p:nvPr>
            <p:ph type="sldNum" sz="quarter" idx="10"/>
          </p:nvPr>
        </p:nvSpPr>
        <p:spPr>
          <a:xfrm>
            <a:off x="8541413" y="6448294"/>
            <a:ext cx="400843" cy="365125"/>
          </a:xfrm>
          <a:prstGeom prst="rect">
            <a:avLst/>
          </a:prstGeom>
        </p:spPr>
        <p:txBody>
          <a:bodyPr anchor="ctr"/>
          <a:lstStyle>
            <a:lvl1pPr algn="ctr">
              <a:defRPr sz="90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fld id="{8A20C306-9D25-4635-9757-4909DAADAD96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2" name="Содержимое 21"/>
          <p:cNvSpPr>
            <a:spLocks noGrp="1"/>
          </p:cNvSpPr>
          <p:nvPr>
            <p:ph sz="quarter" idx="13" hasCustomPrompt="1"/>
          </p:nvPr>
        </p:nvSpPr>
        <p:spPr>
          <a:xfrm>
            <a:off x="2411760" y="1125537"/>
            <a:ext cx="6480719" cy="514463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500"/>
              </a:spcBef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Bef>
                <a:spcPts val="500"/>
              </a:spcBef>
              <a:buNone/>
              <a:defRPr sz="1000">
                <a:solidFill>
                  <a:schemeClr val="tx1"/>
                </a:solidFill>
              </a:defRPr>
            </a:lvl2pPr>
            <a:lvl3pPr marL="174625" indent="-174625">
              <a:spcBef>
                <a:spcPts val="500"/>
              </a:spcBef>
              <a:buClr>
                <a:schemeClr val="bg2"/>
              </a:buClr>
              <a:buFontTx/>
              <a:buBlip>
                <a:blip r:embed="rId3"/>
              </a:buBlip>
              <a:defRPr sz="1000"/>
            </a:lvl3pPr>
            <a:lvl4pPr marL="447675" indent="-180975">
              <a:buClr>
                <a:schemeClr val="bg2"/>
              </a:buClr>
              <a:buFont typeface="Arial" pitchFamily="34" charset="0"/>
              <a:buChar char="•"/>
              <a:defRPr sz="1000"/>
            </a:lvl4pPr>
            <a:lvl5pPr marL="714375" indent="-171450">
              <a:buClr>
                <a:schemeClr val="bg2"/>
              </a:buClr>
              <a:buFont typeface="Calibri" pitchFamily="34" charset="0"/>
              <a:buChar char="−"/>
              <a:defRPr sz="1000"/>
            </a:lvl5pPr>
          </a:lstStyle>
          <a:p>
            <a:pPr lvl="0"/>
            <a:r>
              <a:rPr lang="ru-RU" dirty="0"/>
              <a:t>Первый уровень (заголовок)</a:t>
            </a:r>
          </a:p>
          <a:p>
            <a:pPr lvl="1"/>
            <a:r>
              <a:rPr lang="ru-RU" dirty="0"/>
              <a:t>Второй уровень (текст)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  <a:p>
            <a:pPr lvl="4"/>
            <a:endParaRPr lang="ru-RU" dirty="0"/>
          </a:p>
          <a:p>
            <a:pPr lvl="1"/>
            <a:endParaRPr lang="ru-RU" dirty="0"/>
          </a:p>
        </p:txBody>
      </p:sp>
      <p:sp>
        <p:nvSpPr>
          <p:cNvPr id="23" name="Содержимое 21"/>
          <p:cNvSpPr>
            <a:spLocks noGrp="1"/>
          </p:cNvSpPr>
          <p:nvPr>
            <p:ph sz="quarter" idx="14" hasCustomPrompt="1"/>
          </p:nvPr>
        </p:nvSpPr>
        <p:spPr>
          <a:xfrm>
            <a:off x="239663" y="1125537"/>
            <a:ext cx="2028081" cy="5144633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500"/>
              </a:spcBef>
              <a:buNone/>
              <a:defRPr sz="1000" baseline="0">
                <a:solidFill>
                  <a:schemeClr val="bg2"/>
                </a:solidFill>
              </a:defRPr>
            </a:lvl1pPr>
            <a:lvl2pPr marL="0" indent="0" algn="r">
              <a:spcBef>
                <a:spcPts val="500"/>
              </a:spcBef>
              <a:buNone/>
              <a:defRPr sz="1000">
                <a:solidFill>
                  <a:schemeClr val="tx1"/>
                </a:solidFill>
              </a:defRPr>
            </a:lvl2pPr>
            <a:lvl3pPr marL="174625" indent="-174625" algn="r">
              <a:spcBef>
                <a:spcPts val="500"/>
              </a:spcBef>
              <a:buClr>
                <a:schemeClr val="bg2"/>
              </a:buClr>
              <a:buFontTx/>
              <a:buBlip>
                <a:blip r:embed="rId3"/>
              </a:buBlip>
              <a:defRPr sz="1000"/>
            </a:lvl3pPr>
            <a:lvl4pPr marL="447675" indent="-180975" algn="r">
              <a:buClr>
                <a:schemeClr val="bg2"/>
              </a:buClr>
              <a:buFont typeface="Arial" pitchFamily="34" charset="0"/>
              <a:buChar char="•"/>
              <a:defRPr sz="1000"/>
            </a:lvl4pPr>
            <a:lvl5pPr marL="714375" indent="-171450" algn="r">
              <a:buClr>
                <a:schemeClr val="bg2"/>
              </a:buClr>
              <a:buFont typeface="Calibri" pitchFamily="34" charset="0"/>
              <a:buChar char="−"/>
              <a:defRPr sz="1000"/>
            </a:lvl5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7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264121" y="58316"/>
            <a:ext cx="8639671" cy="562372"/>
          </a:xfrm>
          <a:prstGeom prst="rect">
            <a:avLst/>
          </a:prstGeom>
        </p:spPr>
        <p:txBody>
          <a:bodyPr anchor="ctr"/>
          <a:lstStyle>
            <a:lvl1pPr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одержание</a:t>
            </a:r>
          </a:p>
        </p:txBody>
      </p:sp>
      <p:sp>
        <p:nvSpPr>
          <p:cNvPr id="18" name="Прямоугольник 17"/>
          <p:cNvSpPr/>
          <p:nvPr userDrawn="1"/>
        </p:nvSpPr>
        <p:spPr>
          <a:xfrm>
            <a:off x="0" y="0"/>
            <a:ext cx="9144000" cy="6926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60490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 (с 2мя колонками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Содержимое 21"/>
          <p:cNvSpPr>
            <a:spLocks noGrp="1"/>
          </p:cNvSpPr>
          <p:nvPr>
            <p:ph sz="quarter" idx="13" hasCustomPrompt="1"/>
          </p:nvPr>
        </p:nvSpPr>
        <p:spPr>
          <a:xfrm>
            <a:off x="251520" y="1125537"/>
            <a:ext cx="4017978" cy="514463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500"/>
              </a:spcBef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Bef>
                <a:spcPts val="500"/>
              </a:spcBef>
              <a:buNone/>
              <a:defRPr sz="1000">
                <a:solidFill>
                  <a:schemeClr val="tx1"/>
                </a:solidFill>
              </a:defRPr>
            </a:lvl2pPr>
            <a:lvl3pPr marL="174625" indent="-174625">
              <a:spcBef>
                <a:spcPts val="500"/>
              </a:spcBef>
              <a:buClr>
                <a:schemeClr val="bg2"/>
              </a:buClr>
              <a:buFontTx/>
              <a:buBlip>
                <a:blip r:embed="rId2"/>
              </a:buBlip>
              <a:defRPr sz="1000"/>
            </a:lvl3pPr>
            <a:lvl4pPr marL="447675" indent="-180975">
              <a:buClr>
                <a:schemeClr val="bg2"/>
              </a:buClr>
              <a:buFont typeface="Arial" pitchFamily="34" charset="0"/>
              <a:buChar char="•"/>
              <a:defRPr sz="1000"/>
            </a:lvl4pPr>
            <a:lvl5pPr marL="714375" indent="-171450">
              <a:buClr>
                <a:schemeClr val="bg2"/>
              </a:buClr>
              <a:buFont typeface="Calibri" pitchFamily="34" charset="0"/>
              <a:buChar char="−"/>
              <a:defRPr sz="1000"/>
            </a:lvl5pPr>
          </a:lstStyle>
          <a:p>
            <a:pPr lvl="0"/>
            <a:r>
              <a:rPr lang="ru-RU" dirty="0"/>
              <a:t>Первый уровень (заголовок)</a:t>
            </a:r>
          </a:p>
          <a:p>
            <a:pPr lvl="1"/>
            <a:r>
              <a:rPr lang="ru-RU" dirty="0"/>
              <a:t>Второй уровень (текст)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  <a:p>
            <a:pPr lvl="4"/>
            <a:endParaRPr lang="ru-RU" dirty="0"/>
          </a:p>
          <a:p>
            <a:pPr lvl="1"/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8641791" y="6555581"/>
            <a:ext cx="197085" cy="1595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pic>
        <p:nvPicPr>
          <p:cNvPr id="4" name="Picture 2" descr="C:\Dima_Works\Logo\Logo_Neo_Centre_NEW\Logo_new_nabor\Logo_NEO_Centre_pantone_rus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5" y="6502400"/>
            <a:ext cx="1314450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Номер слайда 6"/>
          <p:cNvSpPr>
            <a:spLocks noGrp="1"/>
          </p:cNvSpPr>
          <p:nvPr>
            <p:ph type="sldNum" sz="quarter" idx="10"/>
          </p:nvPr>
        </p:nvSpPr>
        <p:spPr>
          <a:xfrm>
            <a:off x="8541413" y="6448294"/>
            <a:ext cx="400843" cy="365125"/>
          </a:xfrm>
          <a:prstGeom prst="rect">
            <a:avLst/>
          </a:prstGeom>
        </p:spPr>
        <p:txBody>
          <a:bodyPr anchor="ctr"/>
          <a:lstStyle>
            <a:lvl1pPr algn="ctr">
              <a:defRPr sz="90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fld id="{8A20C306-9D25-4635-9757-4909DAADAD96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8" name="Содержимое 21"/>
          <p:cNvSpPr>
            <a:spLocks noGrp="1"/>
          </p:cNvSpPr>
          <p:nvPr>
            <p:ph sz="quarter" idx="14" hasCustomPrompt="1"/>
          </p:nvPr>
        </p:nvSpPr>
        <p:spPr>
          <a:xfrm>
            <a:off x="4860032" y="1125537"/>
            <a:ext cx="4017978" cy="514463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500"/>
              </a:spcBef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Bef>
                <a:spcPts val="500"/>
              </a:spcBef>
              <a:buNone/>
              <a:defRPr sz="1000">
                <a:solidFill>
                  <a:schemeClr val="tx1"/>
                </a:solidFill>
              </a:defRPr>
            </a:lvl2pPr>
            <a:lvl3pPr marL="174625" indent="-174625">
              <a:spcBef>
                <a:spcPts val="500"/>
              </a:spcBef>
              <a:buClr>
                <a:schemeClr val="bg2"/>
              </a:buClr>
              <a:buFontTx/>
              <a:buBlip>
                <a:blip r:embed="rId2"/>
              </a:buBlip>
              <a:defRPr sz="1000"/>
            </a:lvl3pPr>
            <a:lvl4pPr marL="447675" indent="-180975">
              <a:buClr>
                <a:schemeClr val="bg2"/>
              </a:buClr>
              <a:buFont typeface="Arial" pitchFamily="34" charset="0"/>
              <a:buChar char="•"/>
              <a:defRPr sz="1000"/>
            </a:lvl4pPr>
            <a:lvl5pPr marL="714375" indent="-171450">
              <a:buClr>
                <a:schemeClr val="bg2"/>
              </a:buClr>
              <a:buFont typeface="Calibri" pitchFamily="34" charset="0"/>
              <a:buChar char="−"/>
              <a:defRPr sz="1000"/>
            </a:lvl5pPr>
          </a:lstStyle>
          <a:p>
            <a:pPr lvl="0"/>
            <a:r>
              <a:rPr lang="ru-RU" dirty="0"/>
              <a:t>Первый уровень (заголовок)</a:t>
            </a:r>
          </a:p>
          <a:p>
            <a:pPr lvl="1"/>
            <a:r>
              <a:rPr lang="ru-RU" dirty="0"/>
              <a:t>Второй уровень (текст)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  <a:p>
            <a:pPr lvl="4"/>
            <a:endParaRPr lang="ru-RU" dirty="0"/>
          </a:p>
          <a:p>
            <a:pPr lvl="1"/>
            <a:endParaRPr lang="ru-RU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7031038" y="6526213"/>
            <a:ext cx="1573212" cy="2301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rgbClr val="3C8A2E"/>
                </a:solidFill>
                <a:latin typeface="Calibri" pitchFamily="34" charset="0"/>
              </a:rPr>
              <a:t>БОЛЬШЕ ЧЕМ КОНСАЛТИНГ</a:t>
            </a:r>
          </a:p>
        </p:txBody>
      </p:sp>
      <p:sp>
        <p:nvSpPr>
          <p:cNvPr id="17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264121" y="58316"/>
            <a:ext cx="8639671" cy="562372"/>
          </a:xfrm>
          <a:prstGeom prst="rect">
            <a:avLst/>
          </a:prstGeom>
        </p:spPr>
        <p:txBody>
          <a:bodyPr anchor="ctr"/>
          <a:lstStyle>
            <a:lvl1pPr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одержание</a:t>
            </a:r>
          </a:p>
        </p:txBody>
      </p:sp>
      <p:sp>
        <p:nvSpPr>
          <p:cNvPr id="20" name="Прямоугольник 19"/>
          <p:cNvSpPr/>
          <p:nvPr userDrawn="1"/>
        </p:nvSpPr>
        <p:spPr>
          <a:xfrm>
            <a:off x="0" y="0"/>
            <a:ext cx="9144000" cy="6926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89706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Слдай содержание (с текстовыми блокам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8641791" y="6555581"/>
            <a:ext cx="197085" cy="1595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pic>
        <p:nvPicPr>
          <p:cNvPr id="4" name="Picture 2" descr="C:\Dima_Works\Logo\Logo_Neo_Centre_NEW\Logo_new_nabor\Logo_NEO_Centre_pantone_rus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825" y="6502400"/>
            <a:ext cx="1314450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7031038" y="6526213"/>
            <a:ext cx="1573212" cy="2301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rgbClr val="3C8A2E"/>
                </a:solidFill>
                <a:latin typeface="Calibri" pitchFamily="34" charset="0"/>
              </a:rPr>
              <a:t>БОЛЬШЕ ЧЕМ КОНСАЛТИНГ</a:t>
            </a:r>
          </a:p>
        </p:txBody>
      </p:sp>
      <p:sp>
        <p:nvSpPr>
          <p:cNvPr id="6" name="Номер слайда 6"/>
          <p:cNvSpPr>
            <a:spLocks noGrp="1"/>
          </p:cNvSpPr>
          <p:nvPr>
            <p:ph type="sldNum" sz="quarter" idx="10"/>
          </p:nvPr>
        </p:nvSpPr>
        <p:spPr>
          <a:xfrm>
            <a:off x="8541413" y="6448294"/>
            <a:ext cx="400843" cy="365125"/>
          </a:xfrm>
          <a:prstGeom prst="rect">
            <a:avLst/>
          </a:prstGeom>
        </p:spPr>
        <p:txBody>
          <a:bodyPr anchor="ctr"/>
          <a:lstStyle>
            <a:lvl1pPr algn="ctr">
              <a:defRPr sz="90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fld id="{8A20C306-9D25-4635-9757-4909DAADAD96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0" y="0"/>
            <a:ext cx="9144000" cy="6206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1463"/>
            <a:endParaRPr lang="ru-RU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824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46C00D3B-78D6-417F-A720-5739D5AE75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A0A9B739-4607-4907-9F5C-A6F7C66F2E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2F951130-4115-49EF-BB55-FAA171AE54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2E124460-7377-42EB-A20B-D22B187CCF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D995B106-428B-4D56-B3AA-B7EEFD078E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642E2D-01FB-4B7F-ADBC-F5EDA40DCCE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41185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5"/>
          <p:cNvSpPr txBox="1">
            <a:spLocks/>
          </p:cNvSpPr>
          <p:nvPr userDrawn="1"/>
        </p:nvSpPr>
        <p:spPr>
          <a:xfrm>
            <a:off x="8521867" y="6431880"/>
            <a:ext cx="45402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22D5C8A8-867A-4E7B-A541-D035A9727D85}" type="slidenum">
              <a:rPr lang="ru-RU" smtClean="0">
                <a:solidFill>
                  <a:srgbClr val="3C8A2E"/>
                </a:solidFill>
              </a:rPr>
              <a:pPr/>
              <a:t>‹#›</a:t>
            </a:fld>
            <a:endParaRPr lang="ru-RU" dirty="0">
              <a:solidFill>
                <a:srgbClr val="3C8A2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1569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000" y="72000"/>
            <a:ext cx="8604000" cy="576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Номер слайда 5"/>
          <p:cNvSpPr txBox="1">
            <a:spLocks/>
          </p:cNvSpPr>
          <p:nvPr userDrawn="1"/>
        </p:nvSpPr>
        <p:spPr>
          <a:xfrm>
            <a:off x="8521867" y="6431880"/>
            <a:ext cx="45402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22D5C8A8-867A-4E7B-A541-D035A9727D85}" type="slidenum">
              <a:rPr lang="ru-RU" smtClean="0">
                <a:solidFill>
                  <a:srgbClr val="3C8A2E"/>
                </a:solidFill>
              </a:rPr>
              <a:pPr/>
              <a:t>‹#›</a:t>
            </a:fld>
            <a:endParaRPr lang="ru-RU" dirty="0">
              <a:solidFill>
                <a:srgbClr val="3C8A2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0816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15816" y="2576771"/>
            <a:ext cx="5486400" cy="56673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9" name="Picture 2" descr="C:\Users\e.samokhina\Desktop\логокуб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81" t="16009" r="21634" b="26976"/>
          <a:stretch/>
        </p:blipFill>
        <p:spPr bwMode="auto">
          <a:xfrm>
            <a:off x="1403648" y="2586088"/>
            <a:ext cx="1435758" cy="1234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C:\Users\e.samokhina\Desktop\логокуб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81" t="16009" r="21634" b="26976"/>
          <a:stretch/>
        </p:blipFill>
        <p:spPr bwMode="auto">
          <a:xfrm>
            <a:off x="1403648" y="2586088"/>
            <a:ext cx="1435758" cy="1234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21867" y="6431880"/>
            <a:ext cx="45402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bg2"/>
                </a:solidFill>
                <a:latin typeface="+mn-lt"/>
              </a:defRPr>
            </a:lvl1pPr>
          </a:lstStyle>
          <a:p>
            <a:fld id="{36642E2D-01FB-4B7F-ADBC-F5EDA40DCCE5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5" name="Picture 2" descr="C:\Users\e.samokhina\Desktop\Ребрендинг\финал_лого\ЛОГо англ и рус-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754" y="6464453"/>
            <a:ext cx="1253127" cy="317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C:\Users\e.samokhina\Desktop\Ребрендинг\слоган\слоган-0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6536317"/>
            <a:ext cx="1407983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Прямая соединительная линия 18"/>
          <p:cNvCxnSpPr/>
          <p:nvPr/>
        </p:nvCxnSpPr>
        <p:spPr>
          <a:xfrm>
            <a:off x="8521618" y="6500471"/>
            <a:ext cx="0" cy="252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C:\Users\e.samokhina\Desktop\Ребрендинг\финал_лого\ЛОГо англ и рус-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754" y="6464453"/>
            <a:ext cx="1253127" cy="317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Прямая соединительная линия 21"/>
          <p:cNvCxnSpPr/>
          <p:nvPr/>
        </p:nvCxnSpPr>
        <p:spPr>
          <a:xfrm>
            <a:off x="8521618" y="6500471"/>
            <a:ext cx="0" cy="252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87058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0" y="0"/>
            <a:ext cx="9144000" cy="6309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15816" y="2576771"/>
            <a:ext cx="5486400" cy="56673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915816" y="3165811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521867" y="6421453"/>
            <a:ext cx="454021" cy="365125"/>
          </a:xfrm>
          <a:prstGeom prst="rect">
            <a:avLst/>
          </a:prstGeom>
        </p:spPr>
        <p:txBody>
          <a:bodyPr/>
          <a:lstStyle/>
          <a:p>
            <a:fld id="{36642E2D-01FB-4B7F-ADBC-F5EDA40DCCE5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9" name="Picture 2" descr="C:\Users\e.samokhina\Desktop\логокуб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81" t="16009" r="21634" b="26976"/>
          <a:stretch/>
        </p:blipFill>
        <p:spPr bwMode="auto">
          <a:xfrm>
            <a:off x="1403648" y="2586088"/>
            <a:ext cx="1435758" cy="1234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Прямая соединительная линия 10"/>
          <p:cNvCxnSpPr/>
          <p:nvPr/>
        </p:nvCxnSpPr>
        <p:spPr>
          <a:xfrm>
            <a:off x="2915816" y="3147284"/>
            <a:ext cx="5472608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0" y="0"/>
            <a:ext cx="9144000" cy="6309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2" name="Picture 2" descr="C:\Users\e.samokhina\Desktop\логокуб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81" t="16009" r="21634" b="26976"/>
          <a:stretch/>
        </p:blipFill>
        <p:spPr bwMode="auto">
          <a:xfrm>
            <a:off x="1403648" y="2586088"/>
            <a:ext cx="1435758" cy="1234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Прямая соединительная линия 12"/>
          <p:cNvCxnSpPr/>
          <p:nvPr/>
        </p:nvCxnSpPr>
        <p:spPr>
          <a:xfrm>
            <a:off x="2915816" y="3147284"/>
            <a:ext cx="5472608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33608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E9B28119-F189-443E-9BCD-09C5EF7789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CDDA8668-541B-4BA8-8D24-380C5BFF5C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E205E977-077D-490B-9AB4-58F1DD748F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77629544-D38B-4CB9-BA7B-A2F141C15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84DF9AF-616E-4110-B790-3B1CEB317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4EB2D-D22E-4EA7-85BB-A69C072CA7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33643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EDC779C4-9487-418D-A4C6-ED2721A7D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3230BC6C-8831-44C8-B1F1-5EB8C3D81B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2995AA2A-794C-47C8-B6C9-009790386C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4A7FA1AB-FE7E-40B2-8FEE-833AD50124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8AA9A66A-E35F-45F4-A06D-40FD5F54E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F899DAB5-169D-46B5-975D-054863F60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642E2D-01FB-4B7F-ADBC-F5EDA40DCCE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33237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E7E12239-B1D9-4BAD-9DEC-7C315BC6C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4E37F1D9-24CD-43A7-9C7C-B0A5012DCE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6F67E4A4-F75A-4F54-AF23-938B047EE0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CE4C0707-3BEF-4687-B71F-EBE4F205A0F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D2CA23F5-69A8-44E0-BF44-30AD7C8A77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BE5E07C4-BB1D-4DCA-828A-94732461D3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EAA97133-D6C8-4A0A-BA54-560E2DC52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C51BA8-081F-489A-BA1F-601B39CDD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642E2D-01FB-4B7F-ADBC-F5EDA40DCCE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01142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F5929B3-610E-4510-AA35-FDB2CFD15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C61F9D44-1F1C-4A2C-AC9F-8E12BB94AB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DC37032F-AC92-4771-8B76-06EA6E4347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9F944E5B-F155-44BF-92C0-366D46671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4EB2D-D22E-4EA7-85BB-A69C072CA7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84553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E5A2FE9F-FC2D-4DB9-92B4-BE7DBD6701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0540EA10-7807-4F22-A3B4-C04CA3E03B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E0418E9D-4FC9-4F68-BF5D-2A6ED3161F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4EB2D-D22E-4EA7-85BB-A69C072CA7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24430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629A647-916C-4DDA-B8F7-F0F983CAD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1DD91921-9FD4-4152-9B8F-DAF9104616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9BC2D615-BC65-47DE-A828-E26B407D70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0AAD406C-62BF-4142-ABB0-5275BEFFE7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DB8F966E-D9A2-4589-8CAE-DE01F51E7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DDAC8B6E-8511-428B-8C98-04D82AD91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4EB2D-D22E-4EA7-85BB-A69C072CA7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44189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8AD90E0C-D426-4C99-8FCF-6CC036D95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3E8441BA-2B87-4331-85A1-5658F3B373F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CC1EADE8-194B-4C51-A25F-7D701AA24D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67250B31-086E-4D6C-9A8C-78B8DA5BCE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9E8526C5-E91C-43EC-8E94-25E329C6CA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40D10967-ECB0-4A23-8810-E650081BE0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4EB2D-D22E-4EA7-85BB-A69C072CA7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22320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4150969D-1C57-42D9-A847-D1DDECF04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5958C2E2-BF91-4674-A0AF-F586C6CA97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87B44013-787E-4E57-B52F-65887D4317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7FE693F9-4F30-4087-B1CE-C586665550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5FAE7B88-3AFC-4C92-B910-B2D78AA1A5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D5C8A8-867A-4E7B-A541-D035A9727D8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7079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  <p:sldLayoutId id="2147484127" r:id="rId4"/>
    <p:sldLayoutId id="2147484128" r:id="rId5"/>
    <p:sldLayoutId id="2147484129" r:id="rId6"/>
    <p:sldLayoutId id="2147484130" r:id="rId7"/>
    <p:sldLayoutId id="2147484131" r:id="rId8"/>
    <p:sldLayoutId id="2147484132" r:id="rId9"/>
    <p:sldLayoutId id="2147484133" r:id="rId10"/>
    <p:sldLayoutId id="2147484134" r:id="rId11"/>
    <p:sldLayoutId id="2147484135" r:id="rId12"/>
    <p:sldLayoutId id="2147484111" r:id="rId13"/>
    <p:sldLayoutId id="2147484112" r:id="rId14"/>
    <p:sldLayoutId id="2147484113" r:id="rId15"/>
    <p:sldLayoutId id="2147484114" r:id="rId16"/>
    <p:sldLayoutId id="2147484115" r:id="rId17"/>
    <p:sldLayoutId id="2147484116" r:id="rId18"/>
    <p:sldLayoutId id="2147484117" r:id="rId19"/>
    <p:sldLayoutId id="2147484118" r:id="rId20"/>
    <p:sldLayoutId id="2147484119" r:id="rId21"/>
    <p:sldLayoutId id="2147484120" r:id="rId22"/>
    <p:sldLayoutId id="2147484121" r:id="rId2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.xml"/><Relationship Id="rId7" Type="http://schemas.openxmlformats.org/officeDocument/2006/relationships/image" Target="../media/image9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8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5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6.png"/><Relationship Id="rId7" Type="http://schemas.openxmlformats.org/officeDocument/2006/relationships/image" Target="../media/image18.png"/><Relationship Id="rId12" Type="http://schemas.openxmlformats.org/officeDocument/2006/relationships/image" Target="../media/image27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svg"/><Relationship Id="rId11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17.png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3" Type="http://schemas.openxmlformats.org/officeDocument/2006/relationships/tags" Target="../tags/tag6.xml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1.png"/><Relationship Id="rId7" Type="http://schemas.openxmlformats.org/officeDocument/2006/relationships/image" Target="../media/image26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3"/>
          <p:cNvSpPr>
            <a:spLocks noGrp="1"/>
          </p:cNvSpPr>
          <p:nvPr/>
        </p:nvSpPr>
        <p:spPr>
          <a:xfrm>
            <a:off x="0" y="6159429"/>
            <a:ext cx="9144000" cy="69857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400" b="1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dirty="0">
                <a:solidFill>
                  <a:schemeClr val="tx1"/>
                </a:solidFill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Система долговременного ухода за пожилыми гражданами и инвалидами – пилотный проект </a:t>
            </a:r>
          </a:p>
        </p:txBody>
      </p:sp>
      <p:sp>
        <p:nvSpPr>
          <p:cNvPr id="5" name="Заголовок 3">
            <a:extLst>
              <a:ext uri="{FF2B5EF4-FFF2-40B4-BE49-F238E27FC236}">
                <a16:creationId xmlns:a16="http://schemas.microsoft.com/office/drawing/2014/main" xmlns="" id="{C18F790E-71F5-4FF9-9FA0-B5089AB719C9}"/>
              </a:ext>
            </a:extLst>
          </p:cNvPr>
          <p:cNvSpPr>
            <a:spLocks noGrp="1"/>
          </p:cNvSpPr>
          <p:nvPr/>
        </p:nvSpPr>
        <p:spPr>
          <a:xfrm>
            <a:off x="0" y="6597352"/>
            <a:ext cx="7380312" cy="24754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400" b="1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1000" dirty="0">
              <a:solidFill>
                <a:schemeClr val="accent2">
                  <a:lumMod val="20000"/>
                  <a:lumOff val="8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C9F99EEE-A7B4-4BE1-9531-A8E867DB78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6497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5EB299BF-ED8F-47FA-B1EE-CD1F37F2A9D5}"/>
              </a:ext>
            </a:extLst>
          </p:cNvPr>
          <p:cNvSpPr/>
          <p:nvPr/>
        </p:nvSpPr>
        <p:spPr>
          <a:xfrm>
            <a:off x="4499992" y="2748476"/>
            <a:ext cx="4644008" cy="3416828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343737"/>
            <a:ext cx="7886700" cy="348959"/>
          </a:xfrm>
        </p:spPr>
        <p:txBody>
          <a:bodyPr>
            <a:noAutofit/>
          </a:bodyPr>
          <a:lstStyle/>
          <a:p>
            <a:pPr algn="ctr"/>
            <a:r>
              <a:rPr lang="ru-RU" sz="28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О Системе долговременного ухода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3B98944B-6CFA-4BB4-A89F-497969DF9A90}"/>
              </a:ext>
            </a:extLst>
          </p:cNvPr>
          <p:cNvSpPr/>
          <p:nvPr/>
        </p:nvSpPr>
        <p:spPr>
          <a:xfrm>
            <a:off x="1213176" y="908720"/>
            <a:ext cx="775131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120"/>
              </a:spcAft>
            </a:pPr>
            <a:r>
              <a:rPr lang="ru-RU" sz="1600" b="1" kern="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Система долговременного ухода</a:t>
            </a:r>
            <a:r>
              <a:rPr lang="en-US" sz="1600" b="1" kern="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 (</a:t>
            </a:r>
            <a:r>
              <a:rPr lang="ru-RU" sz="1600" b="1" kern="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СДУ)</a:t>
            </a:r>
            <a:r>
              <a:rPr lang="ru-RU" sz="1600" kern="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 </a:t>
            </a:r>
            <a:r>
              <a:rPr lang="ru-RU" sz="1600" b="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—</a:t>
            </a:r>
            <a:r>
              <a:rPr lang="ru-RU" sz="1600" b="0" kern="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 комплексная система, направленная на обеспечение каждого человека, не полностью справляющегося с самостоятельным уходом, системой поддержки самого высокого качества жизни с наивысшим возможным уровнем независимости, автономии, участия в деятельности, самореализации и человеческого достоинства*</a:t>
            </a:r>
          </a:p>
        </p:txBody>
      </p:sp>
      <p:pic>
        <p:nvPicPr>
          <p:cNvPr id="71" name="Рисунок 70">
            <a:extLst>
              <a:ext uri="{FF2B5EF4-FFF2-40B4-BE49-F238E27FC236}">
                <a16:creationId xmlns:a16="http://schemas.microsoft.com/office/drawing/2014/main" xmlns="" id="{FB515F9C-964E-4B63-9F24-8D859B69447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236837"/>
            <a:ext cx="559324" cy="559324"/>
          </a:xfrm>
          <a:prstGeom prst="rect">
            <a:avLst/>
          </a:prstGeom>
        </p:spPr>
      </p:pic>
      <p:grpSp>
        <p:nvGrpSpPr>
          <p:cNvPr id="76" name="Группа 75">
            <a:extLst>
              <a:ext uri="{FF2B5EF4-FFF2-40B4-BE49-F238E27FC236}">
                <a16:creationId xmlns:a16="http://schemas.microsoft.com/office/drawing/2014/main" xmlns="" id="{3378A39A-D3BA-4B7B-9826-342B792DC0F9}"/>
              </a:ext>
            </a:extLst>
          </p:cNvPr>
          <p:cNvGrpSpPr/>
          <p:nvPr/>
        </p:nvGrpSpPr>
        <p:grpSpPr>
          <a:xfrm>
            <a:off x="547822" y="2276872"/>
            <a:ext cx="3496138" cy="398769"/>
            <a:chOff x="630963" y="2671688"/>
            <a:chExt cx="3787483" cy="432000"/>
          </a:xfrm>
        </p:grpSpPr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xmlns="" id="{9E0DBC78-EF9B-40B2-BDD7-18BECD3C8D3D}"/>
                </a:ext>
              </a:extLst>
            </p:cNvPr>
            <p:cNvSpPr/>
            <p:nvPr/>
          </p:nvSpPr>
          <p:spPr>
            <a:xfrm>
              <a:off x="1139489" y="2767829"/>
              <a:ext cx="3278957" cy="28910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2000" b="1" kern="0" dirty="0">
                  <a:latin typeface="Times New Roman" pitchFamily="18" charset="0"/>
                  <a:ea typeface="Tahoma" panose="020B0604030504040204" pitchFamily="34" charset="0"/>
                  <a:cs typeface="Times New Roman" pitchFamily="18" charset="0"/>
                </a:rPr>
                <a:t>Целевые группы СДУ</a:t>
              </a:r>
            </a:p>
          </p:txBody>
        </p:sp>
        <p:pic>
          <p:nvPicPr>
            <p:cNvPr id="73" name="Рисунок 72">
              <a:extLst>
                <a:ext uri="{FF2B5EF4-FFF2-40B4-BE49-F238E27FC236}">
                  <a16:creationId xmlns:a16="http://schemas.microsoft.com/office/drawing/2014/main" xmlns="" id="{352338F6-1932-4C62-8BD4-7056DF6B5C3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963" y="2671688"/>
              <a:ext cx="432000" cy="432000"/>
            </a:xfrm>
            <a:prstGeom prst="rect">
              <a:avLst/>
            </a:prstGeom>
          </p:spPr>
        </p:pic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xmlns="" id="{9285EF01-07D8-4956-BCE4-59F7F42674E5}"/>
              </a:ext>
            </a:extLst>
          </p:cNvPr>
          <p:cNvGrpSpPr/>
          <p:nvPr/>
        </p:nvGrpSpPr>
        <p:grpSpPr>
          <a:xfrm>
            <a:off x="467544" y="3031184"/>
            <a:ext cx="3168352" cy="3062111"/>
            <a:chOff x="1131059" y="2802378"/>
            <a:chExt cx="2848831" cy="2706163"/>
          </a:xfrm>
        </p:grpSpPr>
        <p:grpSp>
          <p:nvGrpSpPr>
            <p:cNvPr id="12" name="Группа 11">
              <a:extLst>
                <a:ext uri="{FF2B5EF4-FFF2-40B4-BE49-F238E27FC236}">
                  <a16:creationId xmlns:a16="http://schemas.microsoft.com/office/drawing/2014/main" xmlns="" id="{4FD14AFE-DA53-47A3-AD7A-6CAF7B8835E8}"/>
                </a:ext>
              </a:extLst>
            </p:cNvPr>
            <p:cNvGrpSpPr/>
            <p:nvPr/>
          </p:nvGrpSpPr>
          <p:grpSpPr>
            <a:xfrm>
              <a:off x="1131059" y="2802378"/>
              <a:ext cx="2848831" cy="2706163"/>
              <a:chOff x="-2152099" y="2108509"/>
              <a:chExt cx="3536260" cy="3307883"/>
            </a:xfrm>
          </p:grpSpPr>
          <p:grpSp>
            <p:nvGrpSpPr>
              <p:cNvPr id="11" name="Группа 10">
                <a:extLst>
                  <a:ext uri="{FF2B5EF4-FFF2-40B4-BE49-F238E27FC236}">
                    <a16:creationId xmlns:a16="http://schemas.microsoft.com/office/drawing/2014/main" xmlns="" id="{72CC376A-98CA-4D7C-B389-697F0B79C1A3}"/>
                  </a:ext>
                </a:extLst>
              </p:cNvPr>
              <p:cNvGrpSpPr/>
              <p:nvPr/>
            </p:nvGrpSpPr>
            <p:grpSpPr>
              <a:xfrm>
                <a:off x="-2152099" y="2108509"/>
                <a:ext cx="3536260" cy="3307883"/>
                <a:chOff x="-2093528" y="2599200"/>
                <a:chExt cx="2480618" cy="2302647"/>
              </a:xfrm>
            </p:grpSpPr>
            <p:sp>
              <p:nvSpPr>
                <p:cNvPr id="115" name="Freeform 7">
                  <a:extLst>
                    <a:ext uri="{FF2B5EF4-FFF2-40B4-BE49-F238E27FC236}">
                      <a16:creationId xmlns:a16="http://schemas.microsoft.com/office/drawing/2014/main" xmlns="" id="{428A379D-0AF2-4F84-9440-64301A85A83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-1573425" y="2599200"/>
                  <a:ext cx="1437923" cy="1381970"/>
                </a:xfrm>
                <a:custGeom>
                  <a:avLst/>
                  <a:gdLst/>
                  <a:ahLst/>
                  <a:cxnLst>
                    <a:cxn ang="0">
                      <a:pos x="2745" y="1518"/>
                    </a:cxn>
                    <a:cxn ang="0">
                      <a:pos x="2709" y="1721"/>
                    </a:cxn>
                    <a:cxn ang="0">
                      <a:pos x="2644" y="1913"/>
                    </a:cxn>
                    <a:cxn ang="0">
                      <a:pos x="2554" y="2091"/>
                    </a:cxn>
                    <a:cxn ang="0">
                      <a:pos x="2438" y="2253"/>
                    </a:cxn>
                    <a:cxn ang="0">
                      <a:pos x="2301" y="2396"/>
                    </a:cxn>
                    <a:cxn ang="0">
                      <a:pos x="2145" y="2519"/>
                    </a:cxn>
                    <a:cxn ang="0">
                      <a:pos x="1972" y="2619"/>
                    </a:cxn>
                    <a:cxn ang="0">
                      <a:pos x="1786" y="2692"/>
                    </a:cxn>
                    <a:cxn ang="0">
                      <a:pos x="1586" y="2739"/>
                    </a:cxn>
                    <a:cxn ang="0">
                      <a:pos x="1377" y="2754"/>
                    </a:cxn>
                    <a:cxn ang="0">
                      <a:pos x="1166" y="2739"/>
                    </a:cxn>
                    <a:cxn ang="0">
                      <a:pos x="966" y="2692"/>
                    </a:cxn>
                    <a:cxn ang="0">
                      <a:pos x="780" y="2619"/>
                    </a:cxn>
                    <a:cxn ang="0">
                      <a:pos x="607" y="2519"/>
                    </a:cxn>
                    <a:cxn ang="0">
                      <a:pos x="451" y="2396"/>
                    </a:cxn>
                    <a:cxn ang="0">
                      <a:pos x="314" y="2253"/>
                    </a:cxn>
                    <a:cxn ang="0">
                      <a:pos x="200" y="2091"/>
                    </a:cxn>
                    <a:cxn ang="0">
                      <a:pos x="108" y="1913"/>
                    </a:cxn>
                    <a:cxn ang="0">
                      <a:pos x="43" y="1721"/>
                    </a:cxn>
                    <a:cxn ang="0">
                      <a:pos x="7" y="1518"/>
                    </a:cxn>
                    <a:cxn ang="0">
                      <a:pos x="1" y="1307"/>
                    </a:cxn>
                    <a:cxn ang="0">
                      <a:pos x="28" y="1100"/>
                    </a:cxn>
                    <a:cxn ang="0">
                      <a:pos x="84" y="904"/>
                    </a:cxn>
                    <a:cxn ang="0">
                      <a:pos x="167" y="721"/>
                    </a:cxn>
                    <a:cxn ang="0">
                      <a:pos x="273" y="554"/>
                    </a:cxn>
                    <a:cxn ang="0">
                      <a:pos x="403" y="404"/>
                    </a:cxn>
                    <a:cxn ang="0">
                      <a:pos x="553" y="274"/>
                    </a:cxn>
                    <a:cxn ang="0">
                      <a:pos x="720" y="167"/>
                    </a:cxn>
                    <a:cxn ang="0">
                      <a:pos x="903" y="85"/>
                    </a:cxn>
                    <a:cxn ang="0">
                      <a:pos x="1099" y="29"/>
                    </a:cxn>
                    <a:cxn ang="0">
                      <a:pos x="1306" y="2"/>
                    </a:cxn>
                    <a:cxn ang="0">
                      <a:pos x="1517" y="8"/>
                    </a:cxn>
                    <a:cxn ang="0">
                      <a:pos x="1720" y="44"/>
                    </a:cxn>
                    <a:cxn ang="0">
                      <a:pos x="1912" y="109"/>
                    </a:cxn>
                    <a:cxn ang="0">
                      <a:pos x="2089" y="200"/>
                    </a:cxn>
                    <a:cxn ang="0">
                      <a:pos x="2252" y="315"/>
                    </a:cxn>
                    <a:cxn ang="0">
                      <a:pos x="2394" y="452"/>
                    </a:cxn>
                    <a:cxn ang="0">
                      <a:pos x="2518" y="608"/>
                    </a:cxn>
                    <a:cxn ang="0">
                      <a:pos x="2617" y="781"/>
                    </a:cxn>
                    <a:cxn ang="0">
                      <a:pos x="2691" y="967"/>
                    </a:cxn>
                    <a:cxn ang="0">
                      <a:pos x="2736" y="1167"/>
                    </a:cxn>
                    <a:cxn ang="0">
                      <a:pos x="2752" y="1378"/>
                    </a:cxn>
                  </a:cxnLst>
                  <a:rect l="0" t="0" r="r" b="b"/>
                  <a:pathLst>
                    <a:path w="2752" h="2754">
                      <a:moveTo>
                        <a:pt x="2752" y="1378"/>
                      </a:moveTo>
                      <a:lnTo>
                        <a:pt x="2751" y="1449"/>
                      </a:lnTo>
                      <a:lnTo>
                        <a:pt x="2745" y="1518"/>
                      </a:lnTo>
                      <a:lnTo>
                        <a:pt x="2736" y="1587"/>
                      </a:lnTo>
                      <a:lnTo>
                        <a:pt x="2724" y="1655"/>
                      </a:lnTo>
                      <a:lnTo>
                        <a:pt x="2709" y="1721"/>
                      </a:lnTo>
                      <a:lnTo>
                        <a:pt x="2691" y="1787"/>
                      </a:lnTo>
                      <a:lnTo>
                        <a:pt x="2668" y="1850"/>
                      </a:lnTo>
                      <a:lnTo>
                        <a:pt x="2644" y="1913"/>
                      </a:lnTo>
                      <a:lnTo>
                        <a:pt x="2617" y="1975"/>
                      </a:lnTo>
                      <a:lnTo>
                        <a:pt x="2587" y="2034"/>
                      </a:lnTo>
                      <a:lnTo>
                        <a:pt x="2554" y="2091"/>
                      </a:lnTo>
                      <a:lnTo>
                        <a:pt x="2518" y="2147"/>
                      </a:lnTo>
                      <a:lnTo>
                        <a:pt x="2479" y="2201"/>
                      </a:lnTo>
                      <a:lnTo>
                        <a:pt x="2438" y="2253"/>
                      </a:lnTo>
                      <a:lnTo>
                        <a:pt x="2394" y="2303"/>
                      </a:lnTo>
                      <a:lnTo>
                        <a:pt x="2349" y="2351"/>
                      </a:lnTo>
                      <a:lnTo>
                        <a:pt x="2301" y="2396"/>
                      </a:lnTo>
                      <a:lnTo>
                        <a:pt x="2252" y="2440"/>
                      </a:lnTo>
                      <a:lnTo>
                        <a:pt x="2199" y="2480"/>
                      </a:lnTo>
                      <a:lnTo>
                        <a:pt x="2145" y="2519"/>
                      </a:lnTo>
                      <a:lnTo>
                        <a:pt x="2089" y="2556"/>
                      </a:lnTo>
                      <a:lnTo>
                        <a:pt x="2032" y="2589"/>
                      </a:lnTo>
                      <a:lnTo>
                        <a:pt x="1972" y="2619"/>
                      </a:lnTo>
                      <a:lnTo>
                        <a:pt x="1912" y="2646"/>
                      </a:lnTo>
                      <a:lnTo>
                        <a:pt x="1849" y="2671"/>
                      </a:lnTo>
                      <a:lnTo>
                        <a:pt x="1786" y="2692"/>
                      </a:lnTo>
                      <a:lnTo>
                        <a:pt x="1720" y="2710"/>
                      </a:lnTo>
                      <a:lnTo>
                        <a:pt x="1653" y="2726"/>
                      </a:lnTo>
                      <a:lnTo>
                        <a:pt x="1586" y="2739"/>
                      </a:lnTo>
                      <a:lnTo>
                        <a:pt x="1517" y="2747"/>
                      </a:lnTo>
                      <a:lnTo>
                        <a:pt x="1447" y="2753"/>
                      </a:lnTo>
                      <a:lnTo>
                        <a:pt x="1377" y="2754"/>
                      </a:lnTo>
                      <a:lnTo>
                        <a:pt x="1306" y="2753"/>
                      </a:lnTo>
                      <a:lnTo>
                        <a:pt x="1236" y="2747"/>
                      </a:lnTo>
                      <a:lnTo>
                        <a:pt x="1166" y="2739"/>
                      </a:lnTo>
                      <a:lnTo>
                        <a:pt x="1099" y="2726"/>
                      </a:lnTo>
                      <a:lnTo>
                        <a:pt x="1033" y="2710"/>
                      </a:lnTo>
                      <a:lnTo>
                        <a:pt x="966" y="2692"/>
                      </a:lnTo>
                      <a:lnTo>
                        <a:pt x="903" y="2671"/>
                      </a:lnTo>
                      <a:lnTo>
                        <a:pt x="840" y="2646"/>
                      </a:lnTo>
                      <a:lnTo>
                        <a:pt x="780" y="2619"/>
                      </a:lnTo>
                      <a:lnTo>
                        <a:pt x="720" y="2589"/>
                      </a:lnTo>
                      <a:lnTo>
                        <a:pt x="663" y="2556"/>
                      </a:lnTo>
                      <a:lnTo>
                        <a:pt x="607" y="2519"/>
                      </a:lnTo>
                      <a:lnTo>
                        <a:pt x="553" y="2480"/>
                      </a:lnTo>
                      <a:lnTo>
                        <a:pt x="500" y="2440"/>
                      </a:lnTo>
                      <a:lnTo>
                        <a:pt x="451" y="2396"/>
                      </a:lnTo>
                      <a:lnTo>
                        <a:pt x="403" y="2351"/>
                      </a:lnTo>
                      <a:lnTo>
                        <a:pt x="358" y="2303"/>
                      </a:lnTo>
                      <a:lnTo>
                        <a:pt x="314" y="2253"/>
                      </a:lnTo>
                      <a:lnTo>
                        <a:pt x="273" y="2201"/>
                      </a:lnTo>
                      <a:lnTo>
                        <a:pt x="236" y="2147"/>
                      </a:lnTo>
                      <a:lnTo>
                        <a:pt x="200" y="2091"/>
                      </a:lnTo>
                      <a:lnTo>
                        <a:pt x="167" y="2034"/>
                      </a:lnTo>
                      <a:lnTo>
                        <a:pt x="135" y="1975"/>
                      </a:lnTo>
                      <a:lnTo>
                        <a:pt x="108" y="1913"/>
                      </a:lnTo>
                      <a:lnTo>
                        <a:pt x="84" y="1850"/>
                      </a:lnTo>
                      <a:lnTo>
                        <a:pt x="61" y="1787"/>
                      </a:lnTo>
                      <a:lnTo>
                        <a:pt x="43" y="1721"/>
                      </a:lnTo>
                      <a:lnTo>
                        <a:pt x="28" y="1655"/>
                      </a:lnTo>
                      <a:lnTo>
                        <a:pt x="16" y="1587"/>
                      </a:lnTo>
                      <a:lnTo>
                        <a:pt x="7" y="1518"/>
                      </a:lnTo>
                      <a:lnTo>
                        <a:pt x="1" y="1449"/>
                      </a:lnTo>
                      <a:lnTo>
                        <a:pt x="0" y="1378"/>
                      </a:lnTo>
                      <a:lnTo>
                        <a:pt x="1" y="1307"/>
                      </a:lnTo>
                      <a:lnTo>
                        <a:pt x="7" y="1237"/>
                      </a:lnTo>
                      <a:lnTo>
                        <a:pt x="16" y="1167"/>
                      </a:lnTo>
                      <a:lnTo>
                        <a:pt x="28" y="1100"/>
                      </a:lnTo>
                      <a:lnTo>
                        <a:pt x="43" y="1034"/>
                      </a:lnTo>
                      <a:lnTo>
                        <a:pt x="61" y="967"/>
                      </a:lnTo>
                      <a:lnTo>
                        <a:pt x="84" y="904"/>
                      </a:lnTo>
                      <a:lnTo>
                        <a:pt x="108" y="841"/>
                      </a:lnTo>
                      <a:lnTo>
                        <a:pt x="135" y="781"/>
                      </a:lnTo>
                      <a:lnTo>
                        <a:pt x="167" y="721"/>
                      </a:lnTo>
                      <a:lnTo>
                        <a:pt x="200" y="664"/>
                      </a:lnTo>
                      <a:lnTo>
                        <a:pt x="236" y="608"/>
                      </a:lnTo>
                      <a:lnTo>
                        <a:pt x="273" y="554"/>
                      </a:lnTo>
                      <a:lnTo>
                        <a:pt x="314" y="501"/>
                      </a:lnTo>
                      <a:lnTo>
                        <a:pt x="358" y="452"/>
                      </a:lnTo>
                      <a:lnTo>
                        <a:pt x="403" y="404"/>
                      </a:lnTo>
                      <a:lnTo>
                        <a:pt x="451" y="358"/>
                      </a:lnTo>
                      <a:lnTo>
                        <a:pt x="500" y="315"/>
                      </a:lnTo>
                      <a:lnTo>
                        <a:pt x="553" y="274"/>
                      </a:lnTo>
                      <a:lnTo>
                        <a:pt x="607" y="237"/>
                      </a:lnTo>
                      <a:lnTo>
                        <a:pt x="663" y="200"/>
                      </a:lnTo>
                      <a:lnTo>
                        <a:pt x="720" y="167"/>
                      </a:lnTo>
                      <a:lnTo>
                        <a:pt x="780" y="137"/>
                      </a:lnTo>
                      <a:lnTo>
                        <a:pt x="840" y="109"/>
                      </a:lnTo>
                      <a:lnTo>
                        <a:pt x="903" y="85"/>
                      </a:lnTo>
                      <a:lnTo>
                        <a:pt x="966" y="62"/>
                      </a:lnTo>
                      <a:lnTo>
                        <a:pt x="1033" y="44"/>
                      </a:lnTo>
                      <a:lnTo>
                        <a:pt x="1099" y="29"/>
                      </a:lnTo>
                      <a:lnTo>
                        <a:pt x="1166" y="17"/>
                      </a:lnTo>
                      <a:lnTo>
                        <a:pt x="1236" y="8"/>
                      </a:lnTo>
                      <a:lnTo>
                        <a:pt x="1306" y="2"/>
                      </a:lnTo>
                      <a:lnTo>
                        <a:pt x="1377" y="0"/>
                      </a:lnTo>
                      <a:lnTo>
                        <a:pt x="1447" y="2"/>
                      </a:lnTo>
                      <a:lnTo>
                        <a:pt x="1517" y="8"/>
                      </a:lnTo>
                      <a:lnTo>
                        <a:pt x="1586" y="17"/>
                      </a:lnTo>
                      <a:lnTo>
                        <a:pt x="1653" y="29"/>
                      </a:lnTo>
                      <a:lnTo>
                        <a:pt x="1720" y="44"/>
                      </a:lnTo>
                      <a:lnTo>
                        <a:pt x="1786" y="62"/>
                      </a:lnTo>
                      <a:lnTo>
                        <a:pt x="1849" y="85"/>
                      </a:lnTo>
                      <a:lnTo>
                        <a:pt x="1912" y="109"/>
                      </a:lnTo>
                      <a:lnTo>
                        <a:pt x="1972" y="137"/>
                      </a:lnTo>
                      <a:lnTo>
                        <a:pt x="2032" y="167"/>
                      </a:lnTo>
                      <a:lnTo>
                        <a:pt x="2089" y="200"/>
                      </a:lnTo>
                      <a:lnTo>
                        <a:pt x="2145" y="237"/>
                      </a:lnTo>
                      <a:lnTo>
                        <a:pt x="2199" y="274"/>
                      </a:lnTo>
                      <a:lnTo>
                        <a:pt x="2252" y="315"/>
                      </a:lnTo>
                      <a:lnTo>
                        <a:pt x="2301" y="358"/>
                      </a:lnTo>
                      <a:lnTo>
                        <a:pt x="2349" y="404"/>
                      </a:lnTo>
                      <a:lnTo>
                        <a:pt x="2394" y="452"/>
                      </a:lnTo>
                      <a:lnTo>
                        <a:pt x="2438" y="501"/>
                      </a:lnTo>
                      <a:lnTo>
                        <a:pt x="2479" y="554"/>
                      </a:lnTo>
                      <a:lnTo>
                        <a:pt x="2518" y="608"/>
                      </a:lnTo>
                      <a:lnTo>
                        <a:pt x="2554" y="664"/>
                      </a:lnTo>
                      <a:lnTo>
                        <a:pt x="2587" y="721"/>
                      </a:lnTo>
                      <a:lnTo>
                        <a:pt x="2617" y="781"/>
                      </a:lnTo>
                      <a:lnTo>
                        <a:pt x="2644" y="841"/>
                      </a:lnTo>
                      <a:lnTo>
                        <a:pt x="2668" y="904"/>
                      </a:lnTo>
                      <a:lnTo>
                        <a:pt x="2691" y="967"/>
                      </a:lnTo>
                      <a:lnTo>
                        <a:pt x="2709" y="1034"/>
                      </a:lnTo>
                      <a:lnTo>
                        <a:pt x="2724" y="1100"/>
                      </a:lnTo>
                      <a:lnTo>
                        <a:pt x="2736" y="1167"/>
                      </a:lnTo>
                      <a:lnTo>
                        <a:pt x="2745" y="1237"/>
                      </a:lnTo>
                      <a:lnTo>
                        <a:pt x="2751" y="1307"/>
                      </a:lnTo>
                      <a:lnTo>
                        <a:pt x="2752" y="1378"/>
                      </a:lnTo>
                    </a:path>
                  </a:pathLst>
                </a:custGeom>
                <a:noFill/>
                <a:ln w="19050" cmpd="sng">
                  <a:solidFill>
                    <a:schemeClr val="accent4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pPr defTabSz="844083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sz="1108" kern="0" dirty="0">
                    <a:solidFill>
                      <a:sysClr val="windowText" lastClr="00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sp>
              <p:nvSpPr>
                <p:cNvPr id="116" name="Freeform 8">
                  <a:extLst>
                    <a:ext uri="{FF2B5EF4-FFF2-40B4-BE49-F238E27FC236}">
                      <a16:creationId xmlns:a16="http://schemas.microsoft.com/office/drawing/2014/main" xmlns="" id="{2542EB7E-F13B-4E9E-91B6-0ABF87B2A9C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-1050833" y="3497405"/>
                  <a:ext cx="1437923" cy="1381970"/>
                </a:xfrm>
                <a:custGeom>
                  <a:avLst/>
                  <a:gdLst/>
                  <a:ahLst/>
                  <a:cxnLst>
                    <a:cxn ang="0">
                      <a:pos x="7" y="1237"/>
                    </a:cxn>
                    <a:cxn ang="0">
                      <a:pos x="43" y="1032"/>
                    </a:cxn>
                    <a:cxn ang="0">
                      <a:pos x="108" y="841"/>
                    </a:cxn>
                    <a:cxn ang="0">
                      <a:pos x="200" y="664"/>
                    </a:cxn>
                    <a:cxn ang="0">
                      <a:pos x="314" y="501"/>
                    </a:cxn>
                    <a:cxn ang="0">
                      <a:pos x="451" y="358"/>
                    </a:cxn>
                    <a:cxn ang="0">
                      <a:pos x="607" y="235"/>
                    </a:cxn>
                    <a:cxn ang="0">
                      <a:pos x="780" y="136"/>
                    </a:cxn>
                    <a:cxn ang="0">
                      <a:pos x="966" y="62"/>
                    </a:cxn>
                    <a:cxn ang="0">
                      <a:pos x="1166" y="15"/>
                    </a:cxn>
                    <a:cxn ang="0">
                      <a:pos x="1375" y="0"/>
                    </a:cxn>
                    <a:cxn ang="0">
                      <a:pos x="1586" y="15"/>
                    </a:cxn>
                    <a:cxn ang="0">
                      <a:pos x="1785" y="62"/>
                    </a:cxn>
                    <a:cxn ang="0">
                      <a:pos x="1972" y="136"/>
                    </a:cxn>
                    <a:cxn ang="0">
                      <a:pos x="2145" y="235"/>
                    </a:cxn>
                    <a:cxn ang="0">
                      <a:pos x="2301" y="358"/>
                    </a:cxn>
                    <a:cxn ang="0">
                      <a:pos x="2438" y="501"/>
                    </a:cxn>
                    <a:cxn ang="0">
                      <a:pos x="2552" y="664"/>
                    </a:cxn>
                    <a:cxn ang="0">
                      <a:pos x="2644" y="841"/>
                    </a:cxn>
                    <a:cxn ang="0">
                      <a:pos x="2708" y="1032"/>
                    </a:cxn>
                    <a:cxn ang="0">
                      <a:pos x="2744" y="1237"/>
                    </a:cxn>
                    <a:cxn ang="0">
                      <a:pos x="2750" y="1447"/>
                    </a:cxn>
                    <a:cxn ang="0">
                      <a:pos x="2723" y="1655"/>
                    </a:cxn>
                    <a:cxn ang="0">
                      <a:pos x="2668" y="1850"/>
                    </a:cxn>
                    <a:cxn ang="0">
                      <a:pos x="2585" y="2034"/>
                    </a:cxn>
                    <a:cxn ang="0">
                      <a:pos x="2478" y="2201"/>
                    </a:cxn>
                    <a:cxn ang="0">
                      <a:pos x="2349" y="2351"/>
                    </a:cxn>
                    <a:cxn ang="0">
                      <a:pos x="2199" y="2480"/>
                    </a:cxn>
                    <a:cxn ang="0">
                      <a:pos x="2032" y="2587"/>
                    </a:cxn>
                    <a:cxn ang="0">
                      <a:pos x="1849" y="2670"/>
                    </a:cxn>
                    <a:cxn ang="0">
                      <a:pos x="1653" y="2725"/>
                    </a:cxn>
                    <a:cxn ang="0">
                      <a:pos x="1447" y="2752"/>
                    </a:cxn>
                    <a:cxn ang="0">
                      <a:pos x="1235" y="2746"/>
                    </a:cxn>
                    <a:cxn ang="0">
                      <a:pos x="1032" y="2710"/>
                    </a:cxn>
                    <a:cxn ang="0">
                      <a:pos x="840" y="2646"/>
                    </a:cxn>
                    <a:cxn ang="0">
                      <a:pos x="663" y="2554"/>
                    </a:cxn>
                    <a:cxn ang="0">
                      <a:pos x="500" y="2440"/>
                    </a:cxn>
                    <a:cxn ang="0">
                      <a:pos x="357" y="2303"/>
                    </a:cxn>
                    <a:cxn ang="0">
                      <a:pos x="234" y="2146"/>
                    </a:cxn>
                    <a:cxn ang="0">
                      <a:pos x="135" y="1973"/>
                    </a:cxn>
                    <a:cxn ang="0">
                      <a:pos x="61" y="1785"/>
                    </a:cxn>
                    <a:cxn ang="0">
                      <a:pos x="16" y="1587"/>
                    </a:cxn>
                    <a:cxn ang="0">
                      <a:pos x="0" y="1376"/>
                    </a:cxn>
                  </a:cxnLst>
                  <a:rect l="0" t="0" r="r" b="b"/>
                  <a:pathLst>
                    <a:path w="2752" h="2754">
                      <a:moveTo>
                        <a:pt x="0" y="1376"/>
                      </a:moveTo>
                      <a:lnTo>
                        <a:pt x="1" y="1306"/>
                      </a:lnTo>
                      <a:lnTo>
                        <a:pt x="7" y="1237"/>
                      </a:lnTo>
                      <a:lnTo>
                        <a:pt x="16" y="1167"/>
                      </a:lnTo>
                      <a:lnTo>
                        <a:pt x="28" y="1100"/>
                      </a:lnTo>
                      <a:lnTo>
                        <a:pt x="43" y="1032"/>
                      </a:lnTo>
                      <a:lnTo>
                        <a:pt x="61" y="967"/>
                      </a:lnTo>
                      <a:lnTo>
                        <a:pt x="84" y="904"/>
                      </a:lnTo>
                      <a:lnTo>
                        <a:pt x="108" y="841"/>
                      </a:lnTo>
                      <a:lnTo>
                        <a:pt x="135" y="779"/>
                      </a:lnTo>
                      <a:lnTo>
                        <a:pt x="166" y="721"/>
                      </a:lnTo>
                      <a:lnTo>
                        <a:pt x="200" y="664"/>
                      </a:lnTo>
                      <a:lnTo>
                        <a:pt x="234" y="606"/>
                      </a:lnTo>
                      <a:lnTo>
                        <a:pt x="273" y="554"/>
                      </a:lnTo>
                      <a:lnTo>
                        <a:pt x="314" y="501"/>
                      </a:lnTo>
                      <a:lnTo>
                        <a:pt x="357" y="452"/>
                      </a:lnTo>
                      <a:lnTo>
                        <a:pt x="402" y="403"/>
                      </a:lnTo>
                      <a:lnTo>
                        <a:pt x="451" y="358"/>
                      </a:lnTo>
                      <a:lnTo>
                        <a:pt x="500" y="315"/>
                      </a:lnTo>
                      <a:lnTo>
                        <a:pt x="553" y="274"/>
                      </a:lnTo>
                      <a:lnTo>
                        <a:pt x="607" y="235"/>
                      </a:lnTo>
                      <a:lnTo>
                        <a:pt x="663" y="199"/>
                      </a:lnTo>
                      <a:lnTo>
                        <a:pt x="720" y="166"/>
                      </a:lnTo>
                      <a:lnTo>
                        <a:pt x="780" y="136"/>
                      </a:lnTo>
                      <a:lnTo>
                        <a:pt x="840" y="109"/>
                      </a:lnTo>
                      <a:lnTo>
                        <a:pt x="903" y="83"/>
                      </a:lnTo>
                      <a:lnTo>
                        <a:pt x="966" y="62"/>
                      </a:lnTo>
                      <a:lnTo>
                        <a:pt x="1032" y="44"/>
                      </a:lnTo>
                      <a:lnTo>
                        <a:pt x="1098" y="27"/>
                      </a:lnTo>
                      <a:lnTo>
                        <a:pt x="1166" y="15"/>
                      </a:lnTo>
                      <a:lnTo>
                        <a:pt x="1235" y="8"/>
                      </a:lnTo>
                      <a:lnTo>
                        <a:pt x="1304" y="2"/>
                      </a:lnTo>
                      <a:lnTo>
                        <a:pt x="1375" y="0"/>
                      </a:lnTo>
                      <a:lnTo>
                        <a:pt x="1447" y="2"/>
                      </a:lnTo>
                      <a:lnTo>
                        <a:pt x="1516" y="8"/>
                      </a:lnTo>
                      <a:lnTo>
                        <a:pt x="1586" y="15"/>
                      </a:lnTo>
                      <a:lnTo>
                        <a:pt x="1653" y="27"/>
                      </a:lnTo>
                      <a:lnTo>
                        <a:pt x="1719" y="44"/>
                      </a:lnTo>
                      <a:lnTo>
                        <a:pt x="1785" y="62"/>
                      </a:lnTo>
                      <a:lnTo>
                        <a:pt x="1849" y="83"/>
                      </a:lnTo>
                      <a:lnTo>
                        <a:pt x="1912" y="109"/>
                      </a:lnTo>
                      <a:lnTo>
                        <a:pt x="1972" y="136"/>
                      </a:lnTo>
                      <a:lnTo>
                        <a:pt x="2032" y="166"/>
                      </a:lnTo>
                      <a:lnTo>
                        <a:pt x="2089" y="199"/>
                      </a:lnTo>
                      <a:lnTo>
                        <a:pt x="2145" y="235"/>
                      </a:lnTo>
                      <a:lnTo>
                        <a:pt x="2199" y="274"/>
                      </a:lnTo>
                      <a:lnTo>
                        <a:pt x="2251" y="315"/>
                      </a:lnTo>
                      <a:lnTo>
                        <a:pt x="2301" y="358"/>
                      </a:lnTo>
                      <a:lnTo>
                        <a:pt x="2349" y="403"/>
                      </a:lnTo>
                      <a:lnTo>
                        <a:pt x="2394" y="452"/>
                      </a:lnTo>
                      <a:lnTo>
                        <a:pt x="2438" y="501"/>
                      </a:lnTo>
                      <a:lnTo>
                        <a:pt x="2478" y="554"/>
                      </a:lnTo>
                      <a:lnTo>
                        <a:pt x="2517" y="606"/>
                      </a:lnTo>
                      <a:lnTo>
                        <a:pt x="2552" y="664"/>
                      </a:lnTo>
                      <a:lnTo>
                        <a:pt x="2585" y="721"/>
                      </a:lnTo>
                      <a:lnTo>
                        <a:pt x="2617" y="779"/>
                      </a:lnTo>
                      <a:lnTo>
                        <a:pt x="2644" y="841"/>
                      </a:lnTo>
                      <a:lnTo>
                        <a:pt x="2668" y="904"/>
                      </a:lnTo>
                      <a:lnTo>
                        <a:pt x="2690" y="967"/>
                      </a:lnTo>
                      <a:lnTo>
                        <a:pt x="2708" y="1032"/>
                      </a:lnTo>
                      <a:lnTo>
                        <a:pt x="2723" y="1100"/>
                      </a:lnTo>
                      <a:lnTo>
                        <a:pt x="2735" y="1167"/>
                      </a:lnTo>
                      <a:lnTo>
                        <a:pt x="2744" y="1237"/>
                      </a:lnTo>
                      <a:lnTo>
                        <a:pt x="2750" y="1306"/>
                      </a:lnTo>
                      <a:lnTo>
                        <a:pt x="2752" y="1376"/>
                      </a:lnTo>
                      <a:lnTo>
                        <a:pt x="2750" y="1447"/>
                      </a:lnTo>
                      <a:lnTo>
                        <a:pt x="2744" y="1518"/>
                      </a:lnTo>
                      <a:lnTo>
                        <a:pt x="2735" y="1587"/>
                      </a:lnTo>
                      <a:lnTo>
                        <a:pt x="2723" y="1655"/>
                      </a:lnTo>
                      <a:lnTo>
                        <a:pt x="2708" y="1721"/>
                      </a:lnTo>
                      <a:lnTo>
                        <a:pt x="2690" y="1785"/>
                      </a:lnTo>
                      <a:lnTo>
                        <a:pt x="2668" y="1850"/>
                      </a:lnTo>
                      <a:lnTo>
                        <a:pt x="2644" y="1913"/>
                      </a:lnTo>
                      <a:lnTo>
                        <a:pt x="2617" y="1973"/>
                      </a:lnTo>
                      <a:lnTo>
                        <a:pt x="2585" y="2034"/>
                      </a:lnTo>
                      <a:lnTo>
                        <a:pt x="2552" y="2091"/>
                      </a:lnTo>
                      <a:lnTo>
                        <a:pt x="2517" y="2146"/>
                      </a:lnTo>
                      <a:lnTo>
                        <a:pt x="2478" y="2201"/>
                      </a:lnTo>
                      <a:lnTo>
                        <a:pt x="2438" y="2253"/>
                      </a:lnTo>
                      <a:lnTo>
                        <a:pt x="2394" y="2303"/>
                      </a:lnTo>
                      <a:lnTo>
                        <a:pt x="2349" y="2351"/>
                      </a:lnTo>
                      <a:lnTo>
                        <a:pt x="2301" y="2396"/>
                      </a:lnTo>
                      <a:lnTo>
                        <a:pt x="2251" y="2440"/>
                      </a:lnTo>
                      <a:lnTo>
                        <a:pt x="2199" y="2480"/>
                      </a:lnTo>
                      <a:lnTo>
                        <a:pt x="2145" y="2518"/>
                      </a:lnTo>
                      <a:lnTo>
                        <a:pt x="2089" y="2554"/>
                      </a:lnTo>
                      <a:lnTo>
                        <a:pt x="2032" y="2587"/>
                      </a:lnTo>
                      <a:lnTo>
                        <a:pt x="1972" y="2617"/>
                      </a:lnTo>
                      <a:lnTo>
                        <a:pt x="1912" y="2646"/>
                      </a:lnTo>
                      <a:lnTo>
                        <a:pt x="1849" y="2670"/>
                      </a:lnTo>
                      <a:lnTo>
                        <a:pt x="1785" y="2692"/>
                      </a:lnTo>
                      <a:lnTo>
                        <a:pt x="1719" y="2710"/>
                      </a:lnTo>
                      <a:lnTo>
                        <a:pt x="1653" y="2725"/>
                      </a:lnTo>
                      <a:lnTo>
                        <a:pt x="1586" y="2737"/>
                      </a:lnTo>
                      <a:lnTo>
                        <a:pt x="1516" y="2746"/>
                      </a:lnTo>
                      <a:lnTo>
                        <a:pt x="1447" y="2752"/>
                      </a:lnTo>
                      <a:lnTo>
                        <a:pt x="1375" y="2754"/>
                      </a:lnTo>
                      <a:lnTo>
                        <a:pt x="1304" y="2752"/>
                      </a:lnTo>
                      <a:lnTo>
                        <a:pt x="1235" y="2746"/>
                      </a:lnTo>
                      <a:lnTo>
                        <a:pt x="1166" y="2737"/>
                      </a:lnTo>
                      <a:lnTo>
                        <a:pt x="1098" y="2725"/>
                      </a:lnTo>
                      <a:lnTo>
                        <a:pt x="1032" y="2710"/>
                      </a:lnTo>
                      <a:lnTo>
                        <a:pt x="966" y="2692"/>
                      </a:lnTo>
                      <a:lnTo>
                        <a:pt x="903" y="2670"/>
                      </a:lnTo>
                      <a:lnTo>
                        <a:pt x="840" y="2646"/>
                      </a:lnTo>
                      <a:lnTo>
                        <a:pt x="780" y="2617"/>
                      </a:lnTo>
                      <a:lnTo>
                        <a:pt x="720" y="2587"/>
                      </a:lnTo>
                      <a:lnTo>
                        <a:pt x="663" y="2554"/>
                      </a:lnTo>
                      <a:lnTo>
                        <a:pt x="607" y="2518"/>
                      </a:lnTo>
                      <a:lnTo>
                        <a:pt x="553" y="2480"/>
                      </a:lnTo>
                      <a:lnTo>
                        <a:pt x="500" y="2440"/>
                      </a:lnTo>
                      <a:lnTo>
                        <a:pt x="451" y="2396"/>
                      </a:lnTo>
                      <a:lnTo>
                        <a:pt x="402" y="2351"/>
                      </a:lnTo>
                      <a:lnTo>
                        <a:pt x="357" y="2303"/>
                      </a:lnTo>
                      <a:lnTo>
                        <a:pt x="314" y="2253"/>
                      </a:lnTo>
                      <a:lnTo>
                        <a:pt x="273" y="2201"/>
                      </a:lnTo>
                      <a:lnTo>
                        <a:pt x="234" y="2146"/>
                      </a:lnTo>
                      <a:lnTo>
                        <a:pt x="200" y="2091"/>
                      </a:lnTo>
                      <a:lnTo>
                        <a:pt x="166" y="2034"/>
                      </a:lnTo>
                      <a:lnTo>
                        <a:pt x="135" y="1973"/>
                      </a:lnTo>
                      <a:lnTo>
                        <a:pt x="108" y="1913"/>
                      </a:lnTo>
                      <a:lnTo>
                        <a:pt x="84" y="1850"/>
                      </a:lnTo>
                      <a:lnTo>
                        <a:pt x="61" y="1785"/>
                      </a:lnTo>
                      <a:lnTo>
                        <a:pt x="43" y="1721"/>
                      </a:lnTo>
                      <a:lnTo>
                        <a:pt x="28" y="1655"/>
                      </a:lnTo>
                      <a:lnTo>
                        <a:pt x="16" y="1587"/>
                      </a:lnTo>
                      <a:lnTo>
                        <a:pt x="7" y="1518"/>
                      </a:lnTo>
                      <a:lnTo>
                        <a:pt x="1" y="1447"/>
                      </a:lnTo>
                      <a:lnTo>
                        <a:pt x="0" y="1376"/>
                      </a:lnTo>
                    </a:path>
                  </a:pathLst>
                </a:custGeom>
                <a:noFill/>
                <a:ln w="19050" cmpd="sng">
                  <a:solidFill>
                    <a:schemeClr val="accent4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pPr defTabSz="844083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sz="1108" kern="0" dirty="0">
                    <a:solidFill>
                      <a:sysClr val="windowText" lastClr="00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sp>
              <p:nvSpPr>
                <p:cNvPr id="117" name="Freeform 9">
                  <a:extLst>
                    <a:ext uri="{FF2B5EF4-FFF2-40B4-BE49-F238E27FC236}">
                      <a16:creationId xmlns:a16="http://schemas.microsoft.com/office/drawing/2014/main" xmlns="" id="{23EAF36B-0467-44EA-8382-3795FF5BCF0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-2093528" y="3519877"/>
                  <a:ext cx="1437923" cy="1381970"/>
                </a:xfrm>
                <a:custGeom>
                  <a:avLst/>
                  <a:gdLst/>
                  <a:ahLst/>
                  <a:cxnLst>
                    <a:cxn ang="0">
                      <a:pos x="8" y="1237"/>
                    </a:cxn>
                    <a:cxn ang="0">
                      <a:pos x="44" y="1032"/>
                    </a:cxn>
                    <a:cxn ang="0">
                      <a:pos x="108" y="841"/>
                    </a:cxn>
                    <a:cxn ang="0">
                      <a:pos x="200" y="664"/>
                    </a:cxn>
                    <a:cxn ang="0">
                      <a:pos x="314" y="501"/>
                    </a:cxn>
                    <a:cxn ang="0">
                      <a:pos x="451" y="358"/>
                    </a:cxn>
                    <a:cxn ang="0">
                      <a:pos x="607" y="235"/>
                    </a:cxn>
                    <a:cxn ang="0">
                      <a:pos x="780" y="136"/>
                    </a:cxn>
                    <a:cxn ang="0">
                      <a:pos x="967" y="62"/>
                    </a:cxn>
                    <a:cxn ang="0">
                      <a:pos x="1167" y="15"/>
                    </a:cxn>
                    <a:cxn ang="0">
                      <a:pos x="1376" y="0"/>
                    </a:cxn>
                    <a:cxn ang="0">
                      <a:pos x="1586" y="15"/>
                    </a:cxn>
                    <a:cxn ang="0">
                      <a:pos x="1786" y="62"/>
                    </a:cxn>
                    <a:cxn ang="0">
                      <a:pos x="1972" y="136"/>
                    </a:cxn>
                    <a:cxn ang="0">
                      <a:pos x="2145" y="235"/>
                    </a:cxn>
                    <a:cxn ang="0">
                      <a:pos x="2302" y="358"/>
                    </a:cxn>
                    <a:cxn ang="0">
                      <a:pos x="2438" y="501"/>
                    </a:cxn>
                    <a:cxn ang="0">
                      <a:pos x="2553" y="664"/>
                    </a:cxn>
                    <a:cxn ang="0">
                      <a:pos x="2644" y="841"/>
                    </a:cxn>
                    <a:cxn ang="0">
                      <a:pos x="2709" y="1032"/>
                    </a:cxn>
                    <a:cxn ang="0">
                      <a:pos x="2745" y="1237"/>
                    </a:cxn>
                    <a:cxn ang="0">
                      <a:pos x="2751" y="1447"/>
                    </a:cxn>
                    <a:cxn ang="0">
                      <a:pos x="2724" y="1655"/>
                    </a:cxn>
                    <a:cxn ang="0">
                      <a:pos x="2668" y="1850"/>
                    </a:cxn>
                    <a:cxn ang="0">
                      <a:pos x="2586" y="2034"/>
                    </a:cxn>
                    <a:cxn ang="0">
                      <a:pos x="2479" y="2201"/>
                    </a:cxn>
                    <a:cxn ang="0">
                      <a:pos x="2350" y="2351"/>
                    </a:cxn>
                    <a:cxn ang="0">
                      <a:pos x="2199" y="2480"/>
                    </a:cxn>
                    <a:cxn ang="0">
                      <a:pos x="2032" y="2587"/>
                    </a:cxn>
                    <a:cxn ang="0">
                      <a:pos x="1849" y="2670"/>
                    </a:cxn>
                    <a:cxn ang="0">
                      <a:pos x="1654" y="2725"/>
                    </a:cxn>
                    <a:cxn ang="0">
                      <a:pos x="1448" y="2752"/>
                    </a:cxn>
                    <a:cxn ang="0">
                      <a:pos x="1236" y="2746"/>
                    </a:cxn>
                    <a:cxn ang="0">
                      <a:pos x="1033" y="2710"/>
                    </a:cxn>
                    <a:cxn ang="0">
                      <a:pos x="840" y="2646"/>
                    </a:cxn>
                    <a:cxn ang="0">
                      <a:pos x="663" y="2554"/>
                    </a:cxn>
                    <a:cxn ang="0">
                      <a:pos x="501" y="2440"/>
                    </a:cxn>
                    <a:cxn ang="0">
                      <a:pos x="358" y="2303"/>
                    </a:cxn>
                    <a:cxn ang="0">
                      <a:pos x="235" y="2146"/>
                    </a:cxn>
                    <a:cxn ang="0">
                      <a:pos x="135" y="1973"/>
                    </a:cxn>
                    <a:cxn ang="0">
                      <a:pos x="62" y="1785"/>
                    </a:cxn>
                    <a:cxn ang="0">
                      <a:pos x="17" y="1587"/>
                    </a:cxn>
                    <a:cxn ang="0">
                      <a:pos x="0" y="1376"/>
                    </a:cxn>
                  </a:cxnLst>
                  <a:rect l="0" t="0" r="r" b="b"/>
                  <a:pathLst>
                    <a:path w="2753" h="2754">
                      <a:moveTo>
                        <a:pt x="0" y="1376"/>
                      </a:moveTo>
                      <a:lnTo>
                        <a:pt x="2" y="1306"/>
                      </a:lnTo>
                      <a:lnTo>
                        <a:pt x="8" y="1237"/>
                      </a:lnTo>
                      <a:lnTo>
                        <a:pt x="17" y="1167"/>
                      </a:lnTo>
                      <a:lnTo>
                        <a:pt x="29" y="1100"/>
                      </a:lnTo>
                      <a:lnTo>
                        <a:pt x="44" y="1032"/>
                      </a:lnTo>
                      <a:lnTo>
                        <a:pt x="62" y="967"/>
                      </a:lnTo>
                      <a:lnTo>
                        <a:pt x="84" y="904"/>
                      </a:lnTo>
                      <a:lnTo>
                        <a:pt x="108" y="841"/>
                      </a:lnTo>
                      <a:lnTo>
                        <a:pt x="135" y="779"/>
                      </a:lnTo>
                      <a:lnTo>
                        <a:pt x="167" y="721"/>
                      </a:lnTo>
                      <a:lnTo>
                        <a:pt x="200" y="664"/>
                      </a:lnTo>
                      <a:lnTo>
                        <a:pt x="235" y="606"/>
                      </a:lnTo>
                      <a:lnTo>
                        <a:pt x="274" y="554"/>
                      </a:lnTo>
                      <a:lnTo>
                        <a:pt x="314" y="501"/>
                      </a:lnTo>
                      <a:lnTo>
                        <a:pt x="358" y="452"/>
                      </a:lnTo>
                      <a:lnTo>
                        <a:pt x="403" y="403"/>
                      </a:lnTo>
                      <a:lnTo>
                        <a:pt x="451" y="358"/>
                      </a:lnTo>
                      <a:lnTo>
                        <a:pt x="501" y="315"/>
                      </a:lnTo>
                      <a:lnTo>
                        <a:pt x="553" y="274"/>
                      </a:lnTo>
                      <a:lnTo>
                        <a:pt x="607" y="235"/>
                      </a:lnTo>
                      <a:lnTo>
                        <a:pt x="663" y="199"/>
                      </a:lnTo>
                      <a:lnTo>
                        <a:pt x="720" y="166"/>
                      </a:lnTo>
                      <a:lnTo>
                        <a:pt x="780" y="136"/>
                      </a:lnTo>
                      <a:lnTo>
                        <a:pt x="840" y="109"/>
                      </a:lnTo>
                      <a:lnTo>
                        <a:pt x="904" y="83"/>
                      </a:lnTo>
                      <a:lnTo>
                        <a:pt x="967" y="62"/>
                      </a:lnTo>
                      <a:lnTo>
                        <a:pt x="1033" y="44"/>
                      </a:lnTo>
                      <a:lnTo>
                        <a:pt x="1099" y="27"/>
                      </a:lnTo>
                      <a:lnTo>
                        <a:pt x="1167" y="15"/>
                      </a:lnTo>
                      <a:lnTo>
                        <a:pt x="1236" y="8"/>
                      </a:lnTo>
                      <a:lnTo>
                        <a:pt x="1305" y="2"/>
                      </a:lnTo>
                      <a:lnTo>
                        <a:pt x="1376" y="0"/>
                      </a:lnTo>
                      <a:lnTo>
                        <a:pt x="1448" y="2"/>
                      </a:lnTo>
                      <a:lnTo>
                        <a:pt x="1517" y="8"/>
                      </a:lnTo>
                      <a:lnTo>
                        <a:pt x="1586" y="15"/>
                      </a:lnTo>
                      <a:lnTo>
                        <a:pt x="1654" y="27"/>
                      </a:lnTo>
                      <a:lnTo>
                        <a:pt x="1720" y="44"/>
                      </a:lnTo>
                      <a:lnTo>
                        <a:pt x="1786" y="62"/>
                      </a:lnTo>
                      <a:lnTo>
                        <a:pt x="1849" y="83"/>
                      </a:lnTo>
                      <a:lnTo>
                        <a:pt x="1912" y="109"/>
                      </a:lnTo>
                      <a:lnTo>
                        <a:pt x="1972" y="136"/>
                      </a:lnTo>
                      <a:lnTo>
                        <a:pt x="2032" y="166"/>
                      </a:lnTo>
                      <a:lnTo>
                        <a:pt x="2090" y="199"/>
                      </a:lnTo>
                      <a:lnTo>
                        <a:pt x="2145" y="235"/>
                      </a:lnTo>
                      <a:lnTo>
                        <a:pt x="2199" y="274"/>
                      </a:lnTo>
                      <a:lnTo>
                        <a:pt x="2252" y="315"/>
                      </a:lnTo>
                      <a:lnTo>
                        <a:pt x="2302" y="358"/>
                      </a:lnTo>
                      <a:lnTo>
                        <a:pt x="2350" y="403"/>
                      </a:lnTo>
                      <a:lnTo>
                        <a:pt x="2395" y="452"/>
                      </a:lnTo>
                      <a:lnTo>
                        <a:pt x="2438" y="501"/>
                      </a:lnTo>
                      <a:lnTo>
                        <a:pt x="2479" y="554"/>
                      </a:lnTo>
                      <a:lnTo>
                        <a:pt x="2518" y="606"/>
                      </a:lnTo>
                      <a:lnTo>
                        <a:pt x="2553" y="664"/>
                      </a:lnTo>
                      <a:lnTo>
                        <a:pt x="2586" y="721"/>
                      </a:lnTo>
                      <a:lnTo>
                        <a:pt x="2617" y="779"/>
                      </a:lnTo>
                      <a:lnTo>
                        <a:pt x="2644" y="841"/>
                      </a:lnTo>
                      <a:lnTo>
                        <a:pt x="2668" y="904"/>
                      </a:lnTo>
                      <a:lnTo>
                        <a:pt x="2691" y="967"/>
                      </a:lnTo>
                      <a:lnTo>
                        <a:pt x="2709" y="1032"/>
                      </a:lnTo>
                      <a:lnTo>
                        <a:pt x="2724" y="1100"/>
                      </a:lnTo>
                      <a:lnTo>
                        <a:pt x="2736" y="1167"/>
                      </a:lnTo>
                      <a:lnTo>
                        <a:pt x="2745" y="1237"/>
                      </a:lnTo>
                      <a:lnTo>
                        <a:pt x="2751" y="1306"/>
                      </a:lnTo>
                      <a:lnTo>
                        <a:pt x="2753" y="1376"/>
                      </a:lnTo>
                      <a:lnTo>
                        <a:pt x="2751" y="1447"/>
                      </a:lnTo>
                      <a:lnTo>
                        <a:pt x="2745" y="1518"/>
                      </a:lnTo>
                      <a:lnTo>
                        <a:pt x="2736" y="1587"/>
                      </a:lnTo>
                      <a:lnTo>
                        <a:pt x="2724" y="1655"/>
                      </a:lnTo>
                      <a:lnTo>
                        <a:pt x="2709" y="1721"/>
                      </a:lnTo>
                      <a:lnTo>
                        <a:pt x="2691" y="1785"/>
                      </a:lnTo>
                      <a:lnTo>
                        <a:pt x="2668" y="1850"/>
                      </a:lnTo>
                      <a:lnTo>
                        <a:pt x="2644" y="1913"/>
                      </a:lnTo>
                      <a:lnTo>
                        <a:pt x="2617" y="1973"/>
                      </a:lnTo>
                      <a:lnTo>
                        <a:pt x="2586" y="2034"/>
                      </a:lnTo>
                      <a:lnTo>
                        <a:pt x="2553" y="2091"/>
                      </a:lnTo>
                      <a:lnTo>
                        <a:pt x="2518" y="2146"/>
                      </a:lnTo>
                      <a:lnTo>
                        <a:pt x="2479" y="2201"/>
                      </a:lnTo>
                      <a:lnTo>
                        <a:pt x="2438" y="2253"/>
                      </a:lnTo>
                      <a:lnTo>
                        <a:pt x="2395" y="2303"/>
                      </a:lnTo>
                      <a:lnTo>
                        <a:pt x="2350" y="2351"/>
                      </a:lnTo>
                      <a:lnTo>
                        <a:pt x="2302" y="2396"/>
                      </a:lnTo>
                      <a:lnTo>
                        <a:pt x="2252" y="2440"/>
                      </a:lnTo>
                      <a:lnTo>
                        <a:pt x="2199" y="2480"/>
                      </a:lnTo>
                      <a:lnTo>
                        <a:pt x="2145" y="2518"/>
                      </a:lnTo>
                      <a:lnTo>
                        <a:pt x="2090" y="2554"/>
                      </a:lnTo>
                      <a:lnTo>
                        <a:pt x="2032" y="2587"/>
                      </a:lnTo>
                      <a:lnTo>
                        <a:pt x="1972" y="2617"/>
                      </a:lnTo>
                      <a:lnTo>
                        <a:pt x="1912" y="2646"/>
                      </a:lnTo>
                      <a:lnTo>
                        <a:pt x="1849" y="2670"/>
                      </a:lnTo>
                      <a:lnTo>
                        <a:pt x="1786" y="2692"/>
                      </a:lnTo>
                      <a:lnTo>
                        <a:pt x="1720" y="2710"/>
                      </a:lnTo>
                      <a:lnTo>
                        <a:pt x="1654" y="2725"/>
                      </a:lnTo>
                      <a:lnTo>
                        <a:pt x="1586" y="2737"/>
                      </a:lnTo>
                      <a:lnTo>
                        <a:pt x="1517" y="2746"/>
                      </a:lnTo>
                      <a:lnTo>
                        <a:pt x="1448" y="2752"/>
                      </a:lnTo>
                      <a:lnTo>
                        <a:pt x="1376" y="2754"/>
                      </a:lnTo>
                      <a:lnTo>
                        <a:pt x="1305" y="2752"/>
                      </a:lnTo>
                      <a:lnTo>
                        <a:pt x="1236" y="2746"/>
                      </a:lnTo>
                      <a:lnTo>
                        <a:pt x="1167" y="2737"/>
                      </a:lnTo>
                      <a:lnTo>
                        <a:pt x="1099" y="2725"/>
                      </a:lnTo>
                      <a:lnTo>
                        <a:pt x="1033" y="2710"/>
                      </a:lnTo>
                      <a:lnTo>
                        <a:pt x="967" y="2692"/>
                      </a:lnTo>
                      <a:lnTo>
                        <a:pt x="904" y="2670"/>
                      </a:lnTo>
                      <a:lnTo>
                        <a:pt x="840" y="2646"/>
                      </a:lnTo>
                      <a:lnTo>
                        <a:pt x="780" y="2617"/>
                      </a:lnTo>
                      <a:lnTo>
                        <a:pt x="720" y="2587"/>
                      </a:lnTo>
                      <a:lnTo>
                        <a:pt x="663" y="2554"/>
                      </a:lnTo>
                      <a:lnTo>
                        <a:pt x="607" y="2518"/>
                      </a:lnTo>
                      <a:lnTo>
                        <a:pt x="553" y="2480"/>
                      </a:lnTo>
                      <a:lnTo>
                        <a:pt x="501" y="2440"/>
                      </a:lnTo>
                      <a:lnTo>
                        <a:pt x="451" y="2396"/>
                      </a:lnTo>
                      <a:lnTo>
                        <a:pt x="403" y="2351"/>
                      </a:lnTo>
                      <a:lnTo>
                        <a:pt x="358" y="2303"/>
                      </a:lnTo>
                      <a:lnTo>
                        <a:pt x="314" y="2253"/>
                      </a:lnTo>
                      <a:lnTo>
                        <a:pt x="274" y="2201"/>
                      </a:lnTo>
                      <a:lnTo>
                        <a:pt x="235" y="2146"/>
                      </a:lnTo>
                      <a:lnTo>
                        <a:pt x="200" y="2091"/>
                      </a:lnTo>
                      <a:lnTo>
                        <a:pt x="167" y="2034"/>
                      </a:lnTo>
                      <a:lnTo>
                        <a:pt x="135" y="1973"/>
                      </a:lnTo>
                      <a:lnTo>
                        <a:pt x="108" y="1913"/>
                      </a:lnTo>
                      <a:lnTo>
                        <a:pt x="84" y="1850"/>
                      </a:lnTo>
                      <a:lnTo>
                        <a:pt x="62" y="1785"/>
                      </a:lnTo>
                      <a:lnTo>
                        <a:pt x="44" y="1721"/>
                      </a:lnTo>
                      <a:lnTo>
                        <a:pt x="29" y="1655"/>
                      </a:lnTo>
                      <a:lnTo>
                        <a:pt x="17" y="1587"/>
                      </a:lnTo>
                      <a:lnTo>
                        <a:pt x="8" y="1518"/>
                      </a:lnTo>
                      <a:lnTo>
                        <a:pt x="2" y="1447"/>
                      </a:lnTo>
                      <a:lnTo>
                        <a:pt x="0" y="1376"/>
                      </a:lnTo>
                    </a:path>
                  </a:pathLst>
                </a:custGeom>
                <a:noFill/>
                <a:ln w="19050" cmpd="sng">
                  <a:solidFill>
                    <a:schemeClr val="accent4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anchor="b">
                  <a:noAutofit/>
                </a:bodyPr>
                <a:lstStyle/>
                <a:p>
                  <a:pPr defTabSz="844083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sz="1662" kern="0" dirty="0">
                    <a:solidFill>
                      <a:sysClr val="windowText" lastClr="00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</p:grpSp>
          <p:sp>
            <p:nvSpPr>
              <p:cNvPr id="118" name="Freeform 7">
                <a:extLst>
                  <a:ext uri="{FF2B5EF4-FFF2-40B4-BE49-F238E27FC236}">
                    <a16:creationId xmlns:a16="http://schemas.microsoft.com/office/drawing/2014/main" xmlns="" id="{65E3F07C-0111-4674-A803-531F4B36929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421370" y="2798648"/>
                <a:ext cx="2081976" cy="2261586"/>
              </a:xfrm>
              <a:custGeom>
                <a:avLst/>
                <a:gdLst/>
                <a:ahLst/>
                <a:cxnLst>
                  <a:cxn ang="0">
                    <a:pos x="2745" y="1518"/>
                  </a:cxn>
                  <a:cxn ang="0">
                    <a:pos x="2709" y="1721"/>
                  </a:cxn>
                  <a:cxn ang="0">
                    <a:pos x="2644" y="1913"/>
                  </a:cxn>
                  <a:cxn ang="0">
                    <a:pos x="2554" y="2091"/>
                  </a:cxn>
                  <a:cxn ang="0">
                    <a:pos x="2438" y="2253"/>
                  </a:cxn>
                  <a:cxn ang="0">
                    <a:pos x="2301" y="2396"/>
                  </a:cxn>
                  <a:cxn ang="0">
                    <a:pos x="2145" y="2519"/>
                  </a:cxn>
                  <a:cxn ang="0">
                    <a:pos x="1972" y="2619"/>
                  </a:cxn>
                  <a:cxn ang="0">
                    <a:pos x="1786" y="2692"/>
                  </a:cxn>
                  <a:cxn ang="0">
                    <a:pos x="1586" y="2739"/>
                  </a:cxn>
                  <a:cxn ang="0">
                    <a:pos x="1377" y="2754"/>
                  </a:cxn>
                  <a:cxn ang="0">
                    <a:pos x="1166" y="2739"/>
                  </a:cxn>
                  <a:cxn ang="0">
                    <a:pos x="966" y="2692"/>
                  </a:cxn>
                  <a:cxn ang="0">
                    <a:pos x="780" y="2619"/>
                  </a:cxn>
                  <a:cxn ang="0">
                    <a:pos x="607" y="2519"/>
                  </a:cxn>
                  <a:cxn ang="0">
                    <a:pos x="451" y="2396"/>
                  </a:cxn>
                  <a:cxn ang="0">
                    <a:pos x="314" y="2253"/>
                  </a:cxn>
                  <a:cxn ang="0">
                    <a:pos x="200" y="2091"/>
                  </a:cxn>
                  <a:cxn ang="0">
                    <a:pos x="108" y="1913"/>
                  </a:cxn>
                  <a:cxn ang="0">
                    <a:pos x="43" y="1721"/>
                  </a:cxn>
                  <a:cxn ang="0">
                    <a:pos x="7" y="1518"/>
                  </a:cxn>
                  <a:cxn ang="0">
                    <a:pos x="1" y="1307"/>
                  </a:cxn>
                  <a:cxn ang="0">
                    <a:pos x="28" y="1100"/>
                  </a:cxn>
                  <a:cxn ang="0">
                    <a:pos x="84" y="904"/>
                  </a:cxn>
                  <a:cxn ang="0">
                    <a:pos x="167" y="721"/>
                  </a:cxn>
                  <a:cxn ang="0">
                    <a:pos x="273" y="554"/>
                  </a:cxn>
                  <a:cxn ang="0">
                    <a:pos x="403" y="404"/>
                  </a:cxn>
                  <a:cxn ang="0">
                    <a:pos x="553" y="274"/>
                  </a:cxn>
                  <a:cxn ang="0">
                    <a:pos x="720" y="167"/>
                  </a:cxn>
                  <a:cxn ang="0">
                    <a:pos x="903" y="85"/>
                  </a:cxn>
                  <a:cxn ang="0">
                    <a:pos x="1099" y="29"/>
                  </a:cxn>
                  <a:cxn ang="0">
                    <a:pos x="1306" y="2"/>
                  </a:cxn>
                  <a:cxn ang="0">
                    <a:pos x="1517" y="8"/>
                  </a:cxn>
                  <a:cxn ang="0">
                    <a:pos x="1720" y="44"/>
                  </a:cxn>
                  <a:cxn ang="0">
                    <a:pos x="1912" y="109"/>
                  </a:cxn>
                  <a:cxn ang="0">
                    <a:pos x="2089" y="200"/>
                  </a:cxn>
                  <a:cxn ang="0">
                    <a:pos x="2252" y="315"/>
                  </a:cxn>
                  <a:cxn ang="0">
                    <a:pos x="2394" y="452"/>
                  </a:cxn>
                  <a:cxn ang="0">
                    <a:pos x="2518" y="608"/>
                  </a:cxn>
                  <a:cxn ang="0">
                    <a:pos x="2617" y="781"/>
                  </a:cxn>
                  <a:cxn ang="0">
                    <a:pos x="2691" y="967"/>
                  </a:cxn>
                  <a:cxn ang="0">
                    <a:pos x="2736" y="1167"/>
                  </a:cxn>
                  <a:cxn ang="0">
                    <a:pos x="2752" y="1378"/>
                  </a:cxn>
                </a:cxnLst>
                <a:rect l="0" t="0" r="r" b="b"/>
                <a:pathLst>
                  <a:path w="2752" h="2754">
                    <a:moveTo>
                      <a:pt x="2752" y="1378"/>
                    </a:moveTo>
                    <a:lnTo>
                      <a:pt x="2751" y="1449"/>
                    </a:lnTo>
                    <a:lnTo>
                      <a:pt x="2745" y="1518"/>
                    </a:lnTo>
                    <a:lnTo>
                      <a:pt x="2736" y="1587"/>
                    </a:lnTo>
                    <a:lnTo>
                      <a:pt x="2724" y="1655"/>
                    </a:lnTo>
                    <a:lnTo>
                      <a:pt x="2709" y="1721"/>
                    </a:lnTo>
                    <a:lnTo>
                      <a:pt x="2691" y="1787"/>
                    </a:lnTo>
                    <a:lnTo>
                      <a:pt x="2668" y="1850"/>
                    </a:lnTo>
                    <a:lnTo>
                      <a:pt x="2644" y="1913"/>
                    </a:lnTo>
                    <a:lnTo>
                      <a:pt x="2617" y="1975"/>
                    </a:lnTo>
                    <a:lnTo>
                      <a:pt x="2587" y="2034"/>
                    </a:lnTo>
                    <a:lnTo>
                      <a:pt x="2554" y="2091"/>
                    </a:lnTo>
                    <a:lnTo>
                      <a:pt x="2518" y="2147"/>
                    </a:lnTo>
                    <a:lnTo>
                      <a:pt x="2479" y="2201"/>
                    </a:lnTo>
                    <a:lnTo>
                      <a:pt x="2438" y="2253"/>
                    </a:lnTo>
                    <a:lnTo>
                      <a:pt x="2394" y="2303"/>
                    </a:lnTo>
                    <a:lnTo>
                      <a:pt x="2349" y="2351"/>
                    </a:lnTo>
                    <a:lnTo>
                      <a:pt x="2301" y="2396"/>
                    </a:lnTo>
                    <a:lnTo>
                      <a:pt x="2252" y="2440"/>
                    </a:lnTo>
                    <a:lnTo>
                      <a:pt x="2199" y="2480"/>
                    </a:lnTo>
                    <a:lnTo>
                      <a:pt x="2145" y="2519"/>
                    </a:lnTo>
                    <a:lnTo>
                      <a:pt x="2089" y="2556"/>
                    </a:lnTo>
                    <a:lnTo>
                      <a:pt x="2032" y="2589"/>
                    </a:lnTo>
                    <a:lnTo>
                      <a:pt x="1972" y="2619"/>
                    </a:lnTo>
                    <a:lnTo>
                      <a:pt x="1912" y="2646"/>
                    </a:lnTo>
                    <a:lnTo>
                      <a:pt x="1849" y="2671"/>
                    </a:lnTo>
                    <a:lnTo>
                      <a:pt x="1786" y="2692"/>
                    </a:lnTo>
                    <a:lnTo>
                      <a:pt x="1720" y="2710"/>
                    </a:lnTo>
                    <a:lnTo>
                      <a:pt x="1653" y="2726"/>
                    </a:lnTo>
                    <a:lnTo>
                      <a:pt x="1586" y="2739"/>
                    </a:lnTo>
                    <a:lnTo>
                      <a:pt x="1517" y="2747"/>
                    </a:lnTo>
                    <a:lnTo>
                      <a:pt x="1447" y="2753"/>
                    </a:lnTo>
                    <a:lnTo>
                      <a:pt x="1377" y="2754"/>
                    </a:lnTo>
                    <a:lnTo>
                      <a:pt x="1306" y="2753"/>
                    </a:lnTo>
                    <a:lnTo>
                      <a:pt x="1236" y="2747"/>
                    </a:lnTo>
                    <a:lnTo>
                      <a:pt x="1166" y="2739"/>
                    </a:lnTo>
                    <a:lnTo>
                      <a:pt x="1099" y="2726"/>
                    </a:lnTo>
                    <a:lnTo>
                      <a:pt x="1033" y="2710"/>
                    </a:lnTo>
                    <a:lnTo>
                      <a:pt x="966" y="2692"/>
                    </a:lnTo>
                    <a:lnTo>
                      <a:pt x="903" y="2671"/>
                    </a:lnTo>
                    <a:lnTo>
                      <a:pt x="840" y="2646"/>
                    </a:lnTo>
                    <a:lnTo>
                      <a:pt x="780" y="2619"/>
                    </a:lnTo>
                    <a:lnTo>
                      <a:pt x="720" y="2589"/>
                    </a:lnTo>
                    <a:lnTo>
                      <a:pt x="663" y="2556"/>
                    </a:lnTo>
                    <a:lnTo>
                      <a:pt x="607" y="2519"/>
                    </a:lnTo>
                    <a:lnTo>
                      <a:pt x="553" y="2480"/>
                    </a:lnTo>
                    <a:lnTo>
                      <a:pt x="500" y="2440"/>
                    </a:lnTo>
                    <a:lnTo>
                      <a:pt x="451" y="2396"/>
                    </a:lnTo>
                    <a:lnTo>
                      <a:pt x="403" y="2351"/>
                    </a:lnTo>
                    <a:lnTo>
                      <a:pt x="358" y="2303"/>
                    </a:lnTo>
                    <a:lnTo>
                      <a:pt x="314" y="2253"/>
                    </a:lnTo>
                    <a:lnTo>
                      <a:pt x="273" y="2201"/>
                    </a:lnTo>
                    <a:lnTo>
                      <a:pt x="236" y="2147"/>
                    </a:lnTo>
                    <a:lnTo>
                      <a:pt x="200" y="2091"/>
                    </a:lnTo>
                    <a:lnTo>
                      <a:pt x="167" y="2034"/>
                    </a:lnTo>
                    <a:lnTo>
                      <a:pt x="135" y="1975"/>
                    </a:lnTo>
                    <a:lnTo>
                      <a:pt x="108" y="1913"/>
                    </a:lnTo>
                    <a:lnTo>
                      <a:pt x="84" y="1850"/>
                    </a:lnTo>
                    <a:lnTo>
                      <a:pt x="61" y="1787"/>
                    </a:lnTo>
                    <a:lnTo>
                      <a:pt x="43" y="1721"/>
                    </a:lnTo>
                    <a:lnTo>
                      <a:pt x="28" y="1655"/>
                    </a:lnTo>
                    <a:lnTo>
                      <a:pt x="16" y="1587"/>
                    </a:lnTo>
                    <a:lnTo>
                      <a:pt x="7" y="1518"/>
                    </a:lnTo>
                    <a:lnTo>
                      <a:pt x="1" y="1449"/>
                    </a:lnTo>
                    <a:lnTo>
                      <a:pt x="0" y="1378"/>
                    </a:lnTo>
                    <a:lnTo>
                      <a:pt x="1" y="1307"/>
                    </a:lnTo>
                    <a:lnTo>
                      <a:pt x="7" y="1237"/>
                    </a:lnTo>
                    <a:lnTo>
                      <a:pt x="16" y="1167"/>
                    </a:lnTo>
                    <a:lnTo>
                      <a:pt x="28" y="1100"/>
                    </a:lnTo>
                    <a:lnTo>
                      <a:pt x="43" y="1034"/>
                    </a:lnTo>
                    <a:lnTo>
                      <a:pt x="61" y="967"/>
                    </a:lnTo>
                    <a:lnTo>
                      <a:pt x="84" y="904"/>
                    </a:lnTo>
                    <a:lnTo>
                      <a:pt x="108" y="841"/>
                    </a:lnTo>
                    <a:lnTo>
                      <a:pt x="135" y="781"/>
                    </a:lnTo>
                    <a:lnTo>
                      <a:pt x="167" y="721"/>
                    </a:lnTo>
                    <a:lnTo>
                      <a:pt x="200" y="664"/>
                    </a:lnTo>
                    <a:lnTo>
                      <a:pt x="236" y="608"/>
                    </a:lnTo>
                    <a:lnTo>
                      <a:pt x="273" y="554"/>
                    </a:lnTo>
                    <a:lnTo>
                      <a:pt x="314" y="501"/>
                    </a:lnTo>
                    <a:lnTo>
                      <a:pt x="358" y="452"/>
                    </a:lnTo>
                    <a:lnTo>
                      <a:pt x="403" y="404"/>
                    </a:lnTo>
                    <a:lnTo>
                      <a:pt x="451" y="358"/>
                    </a:lnTo>
                    <a:lnTo>
                      <a:pt x="500" y="315"/>
                    </a:lnTo>
                    <a:lnTo>
                      <a:pt x="553" y="274"/>
                    </a:lnTo>
                    <a:lnTo>
                      <a:pt x="607" y="237"/>
                    </a:lnTo>
                    <a:lnTo>
                      <a:pt x="663" y="200"/>
                    </a:lnTo>
                    <a:lnTo>
                      <a:pt x="720" y="167"/>
                    </a:lnTo>
                    <a:lnTo>
                      <a:pt x="780" y="137"/>
                    </a:lnTo>
                    <a:lnTo>
                      <a:pt x="840" y="109"/>
                    </a:lnTo>
                    <a:lnTo>
                      <a:pt x="903" y="85"/>
                    </a:lnTo>
                    <a:lnTo>
                      <a:pt x="966" y="62"/>
                    </a:lnTo>
                    <a:lnTo>
                      <a:pt x="1033" y="44"/>
                    </a:lnTo>
                    <a:lnTo>
                      <a:pt x="1099" y="29"/>
                    </a:lnTo>
                    <a:lnTo>
                      <a:pt x="1166" y="17"/>
                    </a:lnTo>
                    <a:lnTo>
                      <a:pt x="1236" y="8"/>
                    </a:lnTo>
                    <a:lnTo>
                      <a:pt x="1306" y="2"/>
                    </a:lnTo>
                    <a:lnTo>
                      <a:pt x="1377" y="0"/>
                    </a:lnTo>
                    <a:lnTo>
                      <a:pt x="1447" y="2"/>
                    </a:lnTo>
                    <a:lnTo>
                      <a:pt x="1517" y="8"/>
                    </a:lnTo>
                    <a:lnTo>
                      <a:pt x="1586" y="17"/>
                    </a:lnTo>
                    <a:lnTo>
                      <a:pt x="1653" y="29"/>
                    </a:lnTo>
                    <a:lnTo>
                      <a:pt x="1720" y="44"/>
                    </a:lnTo>
                    <a:lnTo>
                      <a:pt x="1786" y="62"/>
                    </a:lnTo>
                    <a:lnTo>
                      <a:pt x="1849" y="85"/>
                    </a:lnTo>
                    <a:lnTo>
                      <a:pt x="1912" y="109"/>
                    </a:lnTo>
                    <a:lnTo>
                      <a:pt x="1972" y="137"/>
                    </a:lnTo>
                    <a:lnTo>
                      <a:pt x="2032" y="167"/>
                    </a:lnTo>
                    <a:lnTo>
                      <a:pt x="2089" y="200"/>
                    </a:lnTo>
                    <a:lnTo>
                      <a:pt x="2145" y="237"/>
                    </a:lnTo>
                    <a:lnTo>
                      <a:pt x="2199" y="274"/>
                    </a:lnTo>
                    <a:lnTo>
                      <a:pt x="2252" y="315"/>
                    </a:lnTo>
                    <a:lnTo>
                      <a:pt x="2301" y="358"/>
                    </a:lnTo>
                    <a:lnTo>
                      <a:pt x="2349" y="404"/>
                    </a:lnTo>
                    <a:lnTo>
                      <a:pt x="2394" y="452"/>
                    </a:lnTo>
                    <a:lnTo>
                      <a:pt x="2438" y="501"/>
                    </a:lnTo>
                    <a:lnTo>
                      <a:pt x="2479" y="554"/>
                    </a:lnTo>
                    <a:lnTo>
                      <a:pt x="2518" y="608"/>
                    </a:lnTo>
                    <a:lnTo>
                      <a:pt x="2554" y="664"/>
                    </a:lnTo>
                    <a:lnTo>
                      <a:pt x="2587" y="721"/>
                    </a:lnTo>
                    <a:lnTo>
                      <a:pt x="2617" y="781"/>
                    </a:lnTo>
                    <a:lnTo>
                      <a:pt x="2644" y="841"/>
                    </a:lnTo>
                    <a:lnTo>
                      <a:pt x="2668" y="904"/>
                    </a:lnTo>
                    <a:lnTo>
                      <a:pt x="2691" y="967"/>
                    </a:lnTo>
                    <a:lnTo>
                      <a:pt x="2709" y="1034"/>
                    </a:lnTo>
                    <a:lnTo>
                      <a:pt x="2724" y="1100"/>
                    </a:lnTo>
                    <a:lnTo>
                      <a:pt x="2736" y="1167"/>
                    </a:lnTo>
                    <a:lnTo>
                      <a:pt x="2745" y="1237"/>
                    </a:lnTo>
                    <a:lnTo>
                      <a:pt x="2751" y="1307"/>
                    </a:lnTo>
                    <a:lnTo>
                      <a:pt x="2752" y="1378"/>
                    </a:lnTo>
                  </a:path>
                </a:pathLst>
              </a:custGeom>
              <a:solidFill>
                <a:srgbClr val="FFFFFF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pPr defTabSz="84408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108" kern="0" dirty="0">
                  <a:solidFill>
                    <a:sysClr val="windowText" lastClr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xmlns="" id="{1005330D-6CEE-4D40-90AA-9E689B1BF468}"/>
                </a:ext>
              </a:extLst>
            </p:cNvPr>
            <p:cNvGrpSpPr/>
            <p:nvPr/>
          </p:nvGrpSpPr>
          <p:grpSpPr>
            <a:xfrm>
              <a:off x="1291760" y="2906070"/>
              <a:ext cx="2549598" cy="2501140"/>
              <a:chOff x="217382" y="1081332"/>
              <a:chExt cx="4626374" cy="4379674"/>
            </a:xfrm>
          </p:grpSpPr>
          <p:grpSp>
            <p:nvGrpSpPr>
              <p:cNvPr id="15" name="Группа 14">
                <a:extLst>
                  <a:ext uri="{FF2B5EF4-FFF2-40B4-BE49-F238E27FC236}">
                    <a16:creationId xmlns:a16="http://schemas.microsoft.com/office/drawing/2014/main" xmlns="" id="{2463F914-C068-4514-A6F2-F21B2659C7FB}"/>
                  </a:ext>
                </a:extLst>
              </p:cNvPr>
              <p:cNvGrpSpPr/>
              <p:nvPr/>
            </p:nvGrpSpPr>
            <p:grpSpPr>
              <a:xfrm>
                <a:off x="217382" y="1081332"/>
                <a:ext cx="4626374" cy="4379674"/>
                <a:chOff x="-35243" y="1406719"/>
                <a:chExt cx="4626374" cy="4379674"/>
              </a:xfrm>
            </p:grpSpPr>
            <p:sp>
              <p:nvSpPr>
                <p:cNvPr id="19" name="Freeform 7"/>
                <p:cNvSpPr>
                  <a:spLocks/>
                </p:cNvSpPr>
                <p:nvPr/>
              </p:nvSpPr>
              <p:spPr bwMode="gray">
                <a:xfrm>
                  <a:off x="879822" y="1406719"/>
                  <a:ext cx="2606792" cy="2586840"/>
                </a:xfrm>
                <a:custGeom>
                  <a:avLst/>
                  <a:gdLst/>
                  <a:ahLst/>
                  <a:cxnLst>
                    <a:cxn ang="0">
                      <a:pos x="2745" y="1518"/>
                    </a:cxn>
                    <a:cxn ang="0">
                      <a:pos x="2709" y="1721"/>
                    </a:cxn>
                    <a:cxn ang="0">
                      <a:pos x="2644" y="1913"/>
                    </a:cxn>
                    <a:cxn ang="0">
                      <a:pos x="2554" y="2091"/>
                    </a:cxn>
                    <a:cxn ang="0">
                      <a:pos x="2438" y="2253"/>
                    </a:cxn>
                    <a:cxn ang="0">
                      <a:pos x="2301" y="2396"/>
                    </a:cxn>
                    <a:cxn ang="0">
                      <a:pos x="2145" y="2519"/>
                    </a:cxn>
                    <a:cxn ang="0">
                      <a:pos x="1972" y="2619"/>
                    </a:cxn>
                    <a:cxn ang="0">
                      <a:pos x="1786" y="2692"/>
                    </a:cxn>
                    <a:cxn ang="0">
                      <a:pos x="1586" y="2739"/>
                    </a:cxn>
                    <a:cxn ang="0">
                      <a:pos x="1377" y="2754"/>
                    </a:cxn>
                    <a:cxn ang="0">
                      <a:pos x="1166" y="2739"/>
                    </a:cxn>
                    <a:cxn ang="0">
                      <a:pos x="966" y="2692"/>
                    </a:cxn>
                    <a:cxn ang="0">
                      <a:pos x="780" y="2619"/>
                    </a:cxn>
                    <a:cxn ang="0">
                      <a:pos x="607" y="2519"/>
                    </a:cxn>
                    <a:cxn ang="0">
                      <a:pos x="451" y="2396"/>
                    </a:cxn>
                    <a:cxn ang="0">
                      <a:pos x="314" y="2253"/>
                    </a:cxn>
                    <a:cxn ang="0">
                      <a:pos x="200" y="2091"/>
                    </a:cxn>
                    <a:cxn ang="0">
                      <a:pos x="108" y="1913"/>
                    </a:cxn>
                    <a:cxn ang="0">
                      <a:pos x="43" y="1721"/>
                    </a:cxn>
                    <a:cxn ang="0">
                      <a:pos x="7" y="1518"/>
                    </a:cxn>
                    <a:cxn ang="0">
                      <a:pos x="1" y="1307"/>
                    </a:cxn>
                    <a:cxn ang="0">
                      <a:pos x="28" y="1100"/>
                    </a:cxn>
                    <a:cxn ang="0">
                      <a:pos x="84" y="904"/>
                    </a:cxn>
                    <a:cxn ang="0">
                      <a:pos x="167" y="721"/>
                    </a:cxn>
                    <a:cxn ang="0">
                      <a:pos x="273" y="554"/>
                    </a:cxn>
                    <a:cxn ang="0">
                      <a:pos x="403" y="404"/>
                    </a:cxn>
                    <a:cxn ang="0">
                      <a:pos x="553" y="274"/>
                    </a:cxn>
                    <a:cxn ang="0">
                      <a:pos x="720" y="167"/>
                    </a:cxn>
                    <a:cxn ang="0">
                      <a:pos x="903" y="85"/>
                    </a:cxn>
                    <a:cxn ang="0">
                      <a:pos x="1099" y="29"/>
                    </a:cxn>
                    <a:cxn ang="0">
                      <a:pos x="1306" y="2"/>
                    </a:cxn>
                    <a:cxn ang="0">
                      <a:pos x="1517" y="8"/>
                    </a:cxn>
                    <a:cxn ang="0">
                      <a:pos x="1720" y="44"/>
                    </a:cxn>
                    <a:cxn ang="0">
                      <a:pos x="1912" y="109"/>
                    </a:cxn>
                    <a:cxn ang="0">
                      <a:pos x="2089" y="200"/>
                    </a:cxn>
                    <a:cxn ang="0">
                      <a:pos x="2252" y="315"/>
                    </a:cxn>
                    <a:cxn ang="0">
                      <a:pos x="2394" y="452"/>
                    </a:cxn>
                    <a:cxn ang="0">
                      <a:pos x="2518" y="608"/>
                    </a:cxn>
                    <a:cxn ang="0">
                      <a:pos x="2617" y="781"/>
                    </a:cxn>
                    <a:cxn ang="0">
                      <a:pos x="2691" y="967"/>
                    </a:cxn>
                    <a:cxn ang="0">
                      <a:pos x="2736" y="1167"/>
                    </a:cxn>
                    <a:cxn ang="0">
                      <a:pos x="2752" y="1378"/>
                    </a:cxn>
                  </a:cxnLst>
                  <a:rect l="0" t="0" r="r" b="b"/>
                  <a:pathLst>
                    <a:path w="2752" h="2754">
                      <a:moveTo>
                        <a:pt x="2752" y="1378"/>
                      </a:moveTo>
                      <a:lnTo>
                        <a:pt x="2751" y="1449"/>
                      </a:lnTo>
                      <a:lnTo>
                        <a:pt x="2745" y="1518"/>
                      </a:lnTo>
                      <a:lnTo>
                        <a:pt x="2736" y="1587"/>
                      </a:lnTo>
                      <a:lnTo>
                        <a:pt x="2724" y="1655"/>
                      </a:lnTo>
                      <a:lnTo>
                        <a:pt x="2709" y="1721"/>
                      </a:lnTo>
                      <a:lnTo>
                        <a:pt x="2691" y="1787"/>
                      </a:lnTo>
                      <a:lnTo>
                        <a:pt x="2668" y="1850"/>
                      </a:lnTo>
                      <a:lnTo>
                        <a:pt x="2644" y="1913"/>
                      </a:lnTo>
                      <a:lnTo>
                        <a:pt x="2617" y="1975"/>
                      </a:lnTo>
                      <a:lnTo>
                        <a:pt x="2587" y="2034"/>
                      </a:lnTo>
                      <a:lnTo>
                        <a:pt x="2554" y="2091"/>
                      </a:lnTo>
                      <a:lnTo>
                        <a:pt x="2518" y="2147"/>
                      </a:lnTo>
                      <a:lnTo>
                        <a:pt x="2479" y="2201"/>
                      </a:lnTo>
                      <a:lnTo>
                        <a:pt x="2438" y="2253"/>
                      </a:lnTo>
                      <a:lnTo>
                        <a:pt x="2394" y="2303"/>
                      </a:lnTo>
                      <a:lnTo>
                        <a:pt x="2349" y="2351"/>
                      </a:lnTo>
                      <a:lnTo>
                        <a:pt x="2301" y="2396"/>
                      </a:lnTo>
                      <a:lnTo>
                        <a:pt x="2252" y="2440"/>
                      </a:lnTo>
                      <a:lnTo>
                        <a:pt x="2199" y="2480"/>
                      </a:lnTo>
                      <a:lnTo>
                        <a:pt x="2145" y="2519"/>
                      </a:lnTo>
                      <a:lnTo>
                        <a:pt x="2089" y="2556"/>
                      </a:lnTo>
                      <a:lnTo>
                        <a:pt x="2032" y="2589"/>
                      </a:lnTo>
                      <a:lnTo>
                        <a:pt x="1972" y="2619"/>
                      </a:lnTo>
                      <a:lnTo>
                        <a:pt x="1912" y="2646"/>
                      </a:lnTo>
                      <a:lnTo>
                        <a:pt x="1849" y="2671"/>
                      </a:lnTo>
                      <a:lnTo>
                        <a:pt x="1786" y="2692"/>
                      </a:lnTo>
                      <a:lnTo>
                        <a:pt x="1720" y="2710"/>
                      </a:lnTo>
                      <a:lnTo>
                        <a:pt x="1653" y="2726"/>
                      </a:lnTo>
                      <a:lnTo>
                        <a:pt x="1586" y="2739"/>
                      </a:lnTo>
                      <a:lnTo>
                        <a:pt x="1517" y="2747"/>
                      </a:lnTo>
                      <a:lnTo>
                        <a:pt x="1447" y="2753"/>
                      </a:lnTo>
                      <a:lnTo>
                        <a:pt x="1377" y="2754"/>
                      </a:lnTo>
                      <a:lnTo>
                        <a:pt x="1306" y="2753"/>
                      </a:lnTo>
                      <a:lnTo>
                        <a:pt x="1236" y="2747"/>
                      </a:lnTo>
                      <a:lnTo>
                        <a:pt x="1166" y="2739"/>
                      </a:lnTo>
                      <a:lnTo>
                        <a:pt x="1099" y="2726"/>
                      </a:lnTo>
                      <a:lnTo>
                        <a:pt x="1033" y="2710"/>
                      </a:lnTo>
                      <a:lnTo>
                        <a:pt x="966" y="2692"/>
                      </a:lnTo>
                      <a:lnTo>
                        <a:pt x="903" y="2671"/>
                      </a:lnTo>
                      <a:lnTo>
                        <a:pt x="840" y="2646"/>
                      </a:lnTo>
                      <a:lnTo>
                        <a:pt x="780" y="2619"/>
                      </a:lnTo>
                      <a:lnTo>
                        <a:pt x="720" y="2589"/>
                      </a:lnTo>
                      <a:lnTo>
                        <a:pt x="663" y="2556"/>
                      </a:lnTo>
                      <a:lnTo>
                        <a:pt x="607" y="2519"/>
                      </a:lnTo>
                      <a:lnTo>
                        <a:pt x="553" y="2480"/>
                      </a:lnTo>
                      <a:lnTo>
                        <a:pt x="500" y="2440"/>
                      </a:lnTo>
                      <a:lnTo>
                        <a:pt x="451" y="2396"/>
                      </a:lnTo>
                      <a:lnTo>
                        <a:pt x="403" y="2351"/>
                      </a:lnTo>
                      <a:lnTo>
                        <a:pt x="358" y="2303"/>
                      </a:lnTo>
                      <a:lnTo>
                        <a:pt x="314" y="2253"/>
                      </a:lnTo>
                      <a:lnTo>
                        <a:pt x="273" y="2201"/>
                      </a:lnTo>
                      <a:lnTo>
                        <a:pt x="236" y="2147"/>
                      </a:lnTo>
                      <a:lnTo>
                        <a:pt x="200" y="2091"/>
                      </a:lnTo>
                      <a:lnTo>
                        <a:pt x="167" y="2034"/>
                      </a:lnTo>
                      <a:lnTo>
                        <a:pt x="135" y="1975"/>
                      </a:lnTo>
                      <a:lnTo>
                        <a:pt x="108" y="1913"/>
                      </a:lnTo>
                      <a:lnTo>
                        <a:pt x="84" y="1850"/>
                      </a:lnTo>
                      <a:lnTo>
                        <a:pt x="61" y="1787"/>
                      </a:lnTo>
                      <a:lnTo>
                        <a:pt x="43" y="1721"/>
                      </a:lnTo>
                      <a:lnTo>
                        <a:pt x="28" y="1655"/>
                      </a:lnTo>
                      <a:lnTo>
                        <a:pt x="16" y="1587"/>
                      </a:lnTo>
                      <a:lnTo>
                        <a:pt x="7" y="1518"/>
                      </a:lnTo>
                      <a:lnTo>
                        <a:pt x="1" y="1449"/>
                      </a:lnTo>
                      <a:lnTo>
                        <a:pt x="0" y="1378"/>
                      </a:lnTo>
                      <a:lnTo>
                        <a:pt x="1" y="1307"/>
                      </a:lnTo>
                      <a:lnTo>
                        <a:pt x="7" y="1237"/>
                      </a:lnTo>
                      <a:lnTo>
                        <a:pt x="16" y="1167"/>
                      </a:lnTo>
                      <a:lnTo>
                        <a:pt x="28" y="1100"/>
                      </a:lnTo>
                      <a:lnTo>
                        <a:pt x="43" y="1034"/>
                      </a:lnTo>
                      <a:lnTo>
                        <a:pt x="61" y="967"/>
                      </a:lnTo>
                      <a:lnTo>
                        <a:pt x="84" y="904"/>
                      </a:lnTo>
                      <a:lnTo>
                        <a:pt x="108" y="841"/>
                      </a:lnTo>
                      <a:lnTo>
                        <a:pt x="135" y="781"/>
                      </a:lnTo>
                      <a:lnTo>
                        <a:pt x="167" y="721"/>
                      </a:lnTo>
                      <a:lnTo>
                        <a:pt x="200" y="664"/>
                      </a:lnTo>
                      <a:lnTo>
                        <a:pt x="236" y="608"/>
                      </a:lnTo>
                      <a:lnTo>
                        <a:pt x="273" y="554"/>
                      </a:lnTo>
                      <a:lnTo>
                        <a:pt x="314" y="501"/>
                      </a:lnTo>
                      <a:lnTo>
                        <a:pt x="358" y="452"/>
                      </a:lnTo>
                      <a:lnTo>
                        <a:pt x="403" y="404"/>
                      </a:lnTo>
                      <a:lnTo>
                        <a:pt x="451" y="358"/>
                      </a:lnTo>
                      <a:lnTo>
                        <a:pt x="500" y="315"/>
                      </a:lnTo>
                      <a:lnTo>
                        <a:pt x="553" y="274"/>
                      </a:lnTo>
                      <a:lnTo>
                        <a:pt x="607" y="237"/>
                      </a:lnTo>
                      <a:lnTo>
                        <a:pt x="663" y="200"/>
                      </a:lnTo>
                      <a:lnTo>
                        <a:pt x="720" y="167"/>
                      </a:lnTo>
                      <a:lnTo>
                        <a:pt x="780" y="137"/>
                      </a:lnTo>
                      <a:lnTo>
                        <a:pt x="840" y="109"/>
                      </a:lnTo>
                      <a:lnTo>
                        <a:pt x="903" y="85"/>
                      </a:lnTo>
                      <a:lnTo>
                        <a:pt x="966" y="62"/>
                      </a:lnTo>
                      <a:lnTo>
                        <a:pt x="1033" y="44"/>
                      </a:lnTo>
                      <a:lnTo>
                        <a:pt x="1099" y="29"/>
                      </a:lnTo>
                      <a:lnTo>
                        <a:pt x="1166" y="17"/>
                      </a:lnTo>
                      <a:lnTo>
                        <a:pt x="1236" y="8"/>
                      </a:lnTo>
                      <a:lnTo>
                        <a:pt x="1306" y="2"/>
                      </a:lnTo>
                      <a:lnTo>
                        <a:pt x="1377" y="0"/>
                      </a:lnTo>
                      <a:lnTo>
                        <a:pt x="1447" y="2"/>
                      </a:lnTo>
                      <a:lnTo>
                        <a:pt x="1517" y="8"/>
                      </a:lnTo>
                      <a:lnTo>
                        <a:pt x="1586" y="17"/>
                      </a:lnTo>
                      <a:lnTo>
                        <a:pt x="1653" y="29"/>
                      </a:lnTo>
                      <a:lnTo>
                        <a:pt x="1720" y="44"/>
                      </a:lnTo>
                      <a:lnTo>
                        <a:pt x="1786" y="62"/>
                      </a:lnTo>
                      <a:lnTo>
                        <a:pt x="1849" y="85"/>
                      </a:lnTo>
                      <a:lnTo>
                        <a:pt x="1912" y="109"/>
                      </a:lnTo>
                      <a:lnTo>
                        <a:pt x="1972" y="137"/>
                      </a:lnTo>
                      <a:lnTo>
                        <a:pt x="2032" y="167"/>
                      </a:lnTo>
                      <a:lnTo>
                        <a:pt x="2089" y="200"/>
                      </a:lnTo>
                      <a:lnTo>
                        <a:pt x="2145" y="237"/>
                      </a:lnTo>
                      <a:lnTo>
                        <a:pt x="2199" y="274"/>
                      </a:lnTo>
                      <a:lnTo>
                        <a:pt x="2252" y="315"/>
                      </a:lnTo>
                      <a:lnTo>
                        <a:pt x="2301" y="358"/>
                      </a:lnTo>
                      <a:lnTo>
                        <a:pt x="2349" y="404"/>
                      </a:lnTo>
                      <a:lnTo>
                        <a:pt x="2394" y="452"/>
                      </a:lnTo>
                      <a:lnTo>
                        <a:pt x="2438" y="501"/>
                      </a:lnTo>
                      <a:lnTo>
                        <a:pt x="2479" y="554"/>
                      </a:lnTo>
                      <a:lnTo>
                        <a:pt x="2518" y="608"/>
                      </a:lnTo>
                      <a:lnTo>
                        <a:pt x="2554" y="664"/>
                      </a:lnTo>
                      <a:lnTo>
                        <a:pt x="2587" y="721"/>
                      </a:lnTo>
                      <a:lnTo>
                        <a:pt x="2617" y="781"/>
                      </a:lnTo>
                      <a:lnTo>
                        <a:pt x="2644" y="841"/>
                      </a:lnTo>
                      <a:lnTo>
                        <a:pt x="2668" y="904"/>
                      </a:lnTo>
                      <a:lnTo>
                        <a:pt x="2691" y="967"/>
                      </a:lnTo>
                      <a:lnTo>
                        <a:pt x="2709" y="1034"/>
                      </a:lnTo>
                      <a:lnTo>
                        <a:pt x="2724" y="1100"/>
                      </a:lnTo>
                      <a:lnTo>
                        <a:pt x="2736" y="1167"/>
                      </a:lnTo>
                      <a:lnTo>
                        <a:pt x="2745" y="1237"/>
                      </a:lnTo>
                      <a:lnTo>
                        <a:pt x="2751" y="1307"/>
                      </a:lnTo>
                      <a:lnTo>
                        <a:pt x="2752" y="1378"/>
                      </a:lnTo>
                    </a:path>
                  </a:pathLst>
                </a:custGeom>
                <a:solidFill>
                  <a:schemeClr val="accent2">
                    <a:alpha val="5000"/>
                  </a:schemeClr>
                </a:solidFill>
                <a:ln w="19050" cmpd="sng">
                  <a:solidFill>
                    <a:schemeClr val="accent3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pPr defTabSz="844083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sz="1108" kern="0" dirty="0">
                    <a:solidFill>
                      <a:sysClr val="windowText" lastClr="00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sp>
              <p:nvSpPr>
                <p:cNvPr id="20" name="Freeform 8"/>
                <p:cNvSpPr>
                  <a:spLocks/>
                </p:cNvSpPr>
                <p:nvPr/>
              </p:nvSpPr>
              <p:spPr bwMode="gray">
                <a:xfrm>
                  <a:off x="1940292" y="3205584"/>
                  <a:ext cx="2650839" cy="2558103"/>
                </a:xfrm>
                <a:custGeom>
                  <a:avLst/>
                  <a:gdLst/>
                  <a:ahLst/>
                  <a:cxnLst>
                    <a:cxn ang="0">
                      <a:pos x="7" y="1237"/>
                    </a:cxn>
                    <a:cxn ang="0">
                      <a:pos x="43" y="1032"/>
                    </a:cxn>
                    <a:cxn ang="0">
                      <a:pos x="108" y="841"/>
                    </a:cxn>
                    <a:cxn ang="0">
                      <a:pos x="200" y="664"/>
                    </a:cxn>
                    <a:cxn ang="0">
                      <a:pos x="314" y="501"/>
                    </a:cxn>
                    <a:cxn ang="0">
                      <a:pos x="451" y="358"/>
                    </a:cxn>
                    <a:cxn ang="0">
                      <a:pos x="607" y="235"/>
                    </a:cxn>
                    <a:cxn ang="0">
                      <a:pos x="780" y="136"/>
                    </a:cxn>
                    <a:cxn ang="0">
                      <a:pos x="966" y="62"/>
                    </a:cxn>
                    <a:cxn ang="0">
                      <a:pos x="1166" y="15"/>
                    </a:cxn>
                    <a:cxn ang="0">
                      <a:pos x="1375" y="0"/>
                    </a:cxn>
                    <a:cxn ang="0">
                      <a:pos x="1586" y="15"/>
                    </a:cxn>
                    <a:cxn ang="0">
                      <a:pos x="1785" y="62"/>
                    </a:cxn>
                    <a:cxn ang="0">
                      <a:pos x="1972" y="136"/>
                    </a:cxn>
                    <a:cxn ang="0">
                      <a:pos x="2145" y="235"/>
                    </a:cxn>
                    <a:cxn ang="0">
                      <a:pos x="2301" y="358"/>
                    </a:cxn>
                    <a:cxn ang="0">
                      <a:pos x="2438" y="501"/>
                    </a:cxn>
                    <a:cxn ang="0">
                      <a:pos x="2552" y="664"/>
                    </a:cxn>
                    <a:cxn ang="0">
                      <a:pos x="2644" y="841"/>
                    </a:cxn>
                    <a:cxn ang="0">
                      <a:pos x="2708" y="1032"/>
                    </a:cxn>
                    <a:cxn ang="0">
                      <a:pos x="2744" y="1237"/>
                    </a:cxn>
                    <a:cxn ang="0">
                      <a:pos x="2750" y="1447"/>
                    </a:cxn>
                    <a:cxn ang="0">
                      <a:pos x="2723" y="1655"/>
                    </a:cxn>
                    <a:cxn ang="0">
                      <a:pos x="2668" y="1850"/>
                    </a:cxn>
                    <a:cxn ang="0">
                      <a:pos x="2585" y="2034"/>
                    </a:cxn>
                    <a:cxn ang="0">
                      <a:pos x="2478" y="2201"/>
                    </a:cxn>
                    <a:cxn ang="0">
                      <a:pos x="2349" y="2351"/>
                    </a:cxn>
                    <a:cxn ang="0">
                      <a:pos x="2199" y="2480"/>
                    </a:cxn>
                    <a:cxn ang="0">
                      <a:pos x="2032" y="2587"/>
                    </a:cxn>
                    <a:cxn ang="0">
                      <a:pos x="1849" y="2670"/>
                    </a:cxn>
                    <a:cxn ang="0">
                      <a:pos x="1653" y="2725"/>
                    </a:cxn>
                    <a:cxn ang="0">
                      <a:pos x="1447" y="2752"/>
                    </a:cxn>
                    <a:cxn ang="0">
                      <a:pos x="1235" y="2746"/>
                    </a:cxn>
                    <a:cxn ang="0">
                      <a:pos x="1032" y="2710"/>
                    </a:cxn>
                    <a:cxn ang="0">
                      <a:pos x="840" y="2646"/>
                    </a:cxn>
                    <a:cxn ang="0">
                      <a:pos x="663" y="2554"/>
                    </a:cxn>
                    <a:cxn ang="0">
                      <a:pos x="500" y="2440"/>
                    </a:cxn>
                    <a:cxn ang="0">
                      <a:pos x="357" y="2303"/>
                    </a:cxn>
                    <a:cxn ang="0">
                      <a:pos x="234" y="2146"/>
                    </a:cxn>
                    <a:cxn ang="0">
                      <a:pos x="135" y="1973"/>
                    </a:cxn>
                    <a:cxn ang="0">
                      <a:pos x="61" y="1785"/>
                    </a:cxn>
                    <a:cxn ang="0">
                      <a:pos x="16" y="1587"/>
                    </a:cxn>
                    <a:cxn ang="0">
                      <a:pos x="0" y="1376"/>
                    </a:cxn>
                  </a:cxnLst>
                  <a:rect l="0" t="0" r="r" b="b"/>
                  <a:pathLst>
                    <a:path w="2752" h="2754">
                      <a:moveTo>
                        <a:pt x="0" y="1376"/>
                      </a:moveTo>
                      <a:lnTo>
                        <a:pt x="1" y="1306"/>
                      </a:lnTo>
                      <a:lnTo>
                        <a:pt x="7" y="1237"/>
                      </a:lnTo>
                      <a:lnTo>
                        <a:pt x="16" y="1167"/>
                      </a:lnTo>
                      <a:lnTo>
                        <a:pt x="28" y="1100"/>
                      </a:lnTo>
                      <a:lnTo>
                        <a:pt x="43" y="1032"/>
                      </a:lnTo>
                      <a:lnTo>
                        <a:pt x="61" y="967"/>
                      </a:lnTo>
                      <a:lnTo>
                        <a:pt x="84" y="904"/>
                      </a:lnTo>
                      <a:lnTo>
                        <a:pt x="108" y="841"/>
                      </a:lnTo>
                      <a:lnTo>
                        <a:pt x="135" y="779"/>
                      </a:lnTo>
                      <a:lnTo>
                        <a:pt x="166" y="721"/>
                      </a:lnTo>
                      <a:lnTo>
                        <a:pt x="200" y="664"/>
                      </a:lnTo>
                      <a:lnTo>
                        <a:pt x="234" y="606"/>
                      </a:lnTo>
                      <a:lnTo>
                        <a:pt x="273" y="554"/>
                      </a:lnTo>
                      <a:lnTo>
                        <a:pt x="314" y="501"/>
                      </a:lnTo>
                      <a:lnTo>
                        <a:pt x="357" y="452"/>
                      </a:lnTo>
                      <a:lnTo>
                        <a:pt x="402" y="403"/>
                      </a:lnTo>
                      <a:lnTo>
                        <a:pt x="451" y="358"/>
                      </a:lnTo>
                      <a:lnTo>
                        <a:pt x="500" y="315"/>
                      </a:lnTo>
                      <a:lnTo>
                        <a:pt x="553" y="274"/>
                      </a:lnTo>
                      <a:lnTo>
                        <a:pt x="607" y="235"/>
                      </a:lnTo>
                      <a:lnTo>
                        <a:pt x="663" y="199"/>
                      </a:lnTo>
                      <a:lnTo>
                        <a:pt x="720" y="166"/>
                      </a:lnTo>
                      <a:lnTo>
                        <a:pt x="780" y="136"/>
                      </a:lnTo>
                      <a:lnTo>
                        <a:pt x="840" y="109"/>
                      </a:lnTo>
                      <a:lnTo>
                        <a:pt x="903" y="83"/>
                      </a:lnTo>
                      <a:lnTo>
                        <a:pt x="966" y="62"/>
                      </a:lnTo>
                      <a:lnTo>
                        <a:pt x="1032" y="44"/>
                      </a:lnTo>
                      <a:lnTo>
                        <a:pt x="1098" y="27"/>
                      </a:lnTo>
                      <a:lnTo>
                        <a:pt x="1166" y="15"/>
                      </a:lnTo>
                      <a:lnTo>
                        <a:pt x="1235" y="8"/>
                      </a:lnTo>
                      <a:lnTo>
                        <a:pt x="1304" y="2"/>
                      </a:lnTo>
                      <a:lnTo>
                        <a:pt x="1375" y="0"/>
                      </a:lnTo>
                      <a:lnTo>
                        <a:pt x="1447" y="2"/>
                      </a:lnTo>
                      <a:lnTo>
                        <a:pt x="1516" y="8"/>
                      </a:lnTo>
                      <a:lnTo>
                        <a:pt x="1586" y="15"/>
                      </a:lnTo>
                      <a:lnTo>
                        <a:pt x="1653" y="27"/>
                      </a:lnTo>
                      <a:lnTo>
                        <a:pt x="1719" y="44"/>
                      </a:lnTo>
                      <a:lnTo>
                        <a:pt x="1785" y="62"/>
                      </a:lnTo>
                      <a:lnTo>
                        <a:pt x="1849" y="83"/>
                      </a:lnTo>
                      <a:lnTo>
                        <a:pt x="1912" y="109"/>
                      </a:lnTo>
                      <a:lnTo>
                        <a:pt x="1972" y="136"/>
                      </a:lnTo>
                      <a:lnTo>
                        <a:pt x="2032" y="166"/>
                      </a:lnTo>
                      <a:lnTo>
                        <a:pt x="2089" y="199"/>
                      </a:lnTo>
                      <a:lnTo>
                        <a:pt x="2145" y="235"/>
                      </a:lnTo>
                      <a:lnTo>
                        <a:pt x="2199" y="274"/>
                      </a:lnTo>
                      <a:lnTo>
                        <a:pt x="2251" y="315"/>
                      </a:lnTo>
                      <a:lnTo>
                        <a:pt x="2301" y="358"/>
                      </a:lnTo>
                      <a:lnTo>
                        <a:pt x="2349" y="403"/>
                      </a:lnTo>
                      <a:lnTo>
                        <a:pt x="2394" y="452"/>
                      </a:lnTo>
                      <a:lnTo>
                        <a:pt x="2438" y="501"/>
                      </a:lnTo>
                      <a:lnTo>
                        <a:pt x="2478" y="554"/>
                      </a:lnTo>
                      <a:lnTo>
                        <a:pt x="2517" y="606"/>
                      </a:lnTo>
                      <a:lnTo>
                        <a:pt x="2552" y="664"/>
                      </a:lnTo>
                      <a:lnTo>
                        <a:pt x="2585" y="721"/>
                      </a:lnTo>
                      <a:lnTo>
                        <a:pt x="2617" y="779"/>
                      </a:lnTo>
                      <a:lnTo>
                        <a:pt x="2644" y="841"/>
                      </a:lnTo>
                      <a:lnTo>
                        <a:pt x="2668" y="904"/>
                      </a:lnTo>
                      <a:lnTo>
                        <a:pt x="2690" y="967"/>
                      </a:lnTo>
                      <a:lnTo>
                        <a:pt x="2708" y="1032"/>
                      </a:lnTo>
                      <a:lnTo>
                        <a:pt x="2723" y="1100"/>
                      </a:lnTo>
                      <a:lnTo>
                        <a:pt x="2735" y="1167"/>
                      </a:lnTo>
                      <a:lnTo>
                        <a:pt x="2744" y="1237"/>
                      </a:lnTo>
                      <a:lnTo>
                        <a:pt x="2750" y="1306"/>
                      </a:lnTo>
                      <a:lnTo>
                        <a:pt x="2752" y="1376"/>
                      </a:lnTo>
                      <a:lnTo>
                        <a:pt x="2750" y="1447"/>
                      </a:lnTo>
                      <a:lnTo>
                        <a:pt x="2744" y="1518"/>
                      </a:lnTo>
                      <a:lnTo>
                        <a:pt x="2735" y="1587"/>
                      </a:lnTo>
                      <a:lnTo>
                        <a:pt x="2723" y="1655"/>
                      </a:lnTo>
                      <a:lnTo>
                        <a:pt x="2708" y="1721"/>
                      </a:lnTo>
                      <a:lnTo>
                        <a:pt x="2690" y="1785"/>
                      </a:lnTo>
                      <a:lnTo>
                        <a:pt x="2668" y="1850"/>
                      </a:lnTo>
                      <a:lnTo>
                        <a:pt x="2644" y="1913"/>
                      </a:lnTo>
                      <a:lnTo>
                        <a:pt x="2617" y="1973"/>
                      </a:lnTo>
                      <a:lnTo>
                        <a:pt x="2585" y="2034"/>
                      </a:lnTo>
                      <a:lnTo>
                        <a:pt x="2552" y="2091"/>
                      </a:lnTo>
                      <a:lnTo>
                        <a:pt x="2517" y="2146"/>
                      </a:lnTo>
                      <a:lnTo>
                        <a:pt x="2478" y="2201"/>
                      </a:lnTo>
                      <a:lnTo>
                        <a:pt x="2438" y="2253"/>
                      </a:lnTo>
                      <a:lnTo>
                        <a:pt x="2394" y="2303"/>
                      </a:lnTo>
                      <a:lnTo>
                        <a:pt x="2349" y="2351"/>
                      </a:lnTo>
                      <a:lnTo>
                        <a:pt x="2301" y="2396"/>
                      </a:lnTo>
                      <a:lnTo>
                        <a:pt x="2251" y="2440"/>
                      </a:lnTo>
                      <a:lnTo>
                        <a:pt x="2199" y="2480"/>
                      </a:lnTo>
                      <a:lnTo>
                        <a:pt x="2145" y="2518"/>
                      </a:lnTo>
                      <a:lnTo>
                        <a:pt x="2089" y="2554"/>
                      </a:lnTo>
                      <a:lnTo>
                        <a:pt x="2032" y="2587"/>
                      </a:lnTo>
                      <a:lnTo>
                        <a:pt x="1972" y="2617"/>
                      </a:lnTo>
                      <a:lnTo>
                        <a:pt x="1912" y="2646"/>
                      </a:lnTo>
                      <a:lnTo>
                        <a:pt x="1849" y="2670"/>
                      </a:lnTo>
                      <a:lnTo>
                        <a:pt x="1785" y="2692"/>
                      </a:lnTo>
                      <a:lnTo>
                        <a:pt x="1719" y="2710"/>
                      </a:lnTo>
                      <a:lnTo>
                        <a:pt x="1653" y="2725"/>
                      </a:lnTo>
                      <a:lnTo>
                        <a:pt x="1586" y="2737"/>
                      </a:lnTo>
                      <a:lnTo>
                        <a:pt x="1516" y="2746"/>
                      </a:lnTo>
                      <a:lnTo>
                        <a:pt x="1447" y="2752"/>
                      </a:lnTo>
                      <a:lnTo>
                        <a:pt x="1375" y="2754"/>
                      </a:lnTo>
                      <a:lnTo>
                        <a:pt x="1304" y="2752"/>
                      </a:lnTo>
                      <a:lnTo>
                        <a:pt x="1235" y="2746"/>
                      </a:lnTo>
                      <a:lnTo>
                        <a:pt x="1166" y="2737"/>
                      </a:lnTo>
                      <a:lnTo>
                        <a:pt x="1098" y="2725"/>
                      </a:lnTo>
                      <a:lnTo>
                        <a:pt x="1032" y="2710"/>
                      </a:lnTo>
                      <a:lnTo>
                        <a:pt x="966" y="2692"/>
                      </a:lnTo>
                      <a:lnTo>
                        <a:pt x="903" y="2670"/>
                      </a:lnTo>
                      <a:lnTo>
                        <a:pt x="840" y="2646"/>
                      </a:lnTo>
                      <a:lnTo>
                        <a:pt x="780" y="2617"/>
                      </a:lnTo>
                      <a:lnTo>
                        <a:pt x="720" y="2587"/>
                      </a:lnTo>
                      <a:lnTo>
                        <a:pt x="663" y="2554"/>
                      </a:lnTo>
                      <a:lnTo>
                        <a:pt x="607" y="2518"/>
                      </a:lnTo>
                      <a:lnTo>
                        <a:pt x="553" y="2480"/>
                      </a:lnTo>
                      <a:lnTo>
                        <a:pt x="500" y="2440"/>
                      </a:lnTo>
                      <a:lnTo>
                        <a:pt x="451" y="2396"/>
                      </a:lnTo>
                      <a:lnTo>
                        <a:pt x="402" y="2351"/>
                      </a:lnTo>
                      <a:lnTo>
                        <a:pt x="357" y="2303"/>
                      </a:lnTo>
                      <a:lnTo>
                        <a:pt x="314" y="2253"/>
                      </a:lnTo>
                      <a:lnTo>
                        <a:pt x="273" y="2201"/>
                      </a:lnTo>
                      <a:lnTo>
                        <a:pt x="234" y="2146"/>
                      </a:lnTo>
                      <a:lnTo>
                        <a:pt x="200" y="2091"/>
                      </a:lnTo>
                      <a:lnTo>
                        <a:pt x="166" y="2034"/>
                      </a:lnTo>
                      <a:lnTo>
                        <a:pt x="135" y="1973"/>
                      </a:lnTo>
                      <a:lnTo>
                        <a:pt x="108" y="1913"/>
                      </a:lnTo>
                      <a:lnTo>
                        <a:pt x="84" y="1850"/>
                      </a:lnTo>
                      <a:lnTo>
                        <a:pt x="61" y="1785"/>
                      </a:lnTo>
                      <a:lnTo>
                        <a:pt x="43" y="1721"/>
                      </a:lnTo>
                      <a:lnTo>
                        <a:pt x="28" y="1655"/>
                      </a:lnTo>
                      <a:lnTo>
                        <a:pt x="16" y="1587"/>
                      </a:lnTo>
                      <a:lnTo>
                        <a:pt x="7" y="1518"/>
                      </a:lnTo>
                      <a:lnTo>
                        <a:pt x="1" y="1447"/>
                      </a:lnTo>
                      <a:lnTo>
                        <a:pt x="0" y="1376"/>
                      </a:lnTo>
                    </a:path>
                  </a:pathLst>
                </a:custGeom>
                <a:solidFill>
                  <a:schemeClr val="accent2">
                    <a:alpha val="5000"/>
                  </a:schemeClr>
                </a:solidFill>
                <a:ln w="19050" cmpd="sng">
                  <a:solidFill>
                    <a:schemeClr val="accent5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pPr defTabSz="844083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sz="1108" kern="0" dirty="0">
                    <a:solidFill>
                      <a:sysClr val="windowText" lastClr="00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sp>
              <p:nvSpPr>
                <p:cNvPr id="21" name="Freeform 9"/>
                <p:cNvSpPr>
                  <a:spLocks/>
                </p:cNvSpPr>
                <p:nvPr/>
              </p:nvSpPr>
              <p:spPr bwMode="gray">
                <a:xfrm>
                  <a:off x="-35243" y="3284393"/>
                  <a:ext cx="2592702" cy="2502000"/>
                </a:xfrm>
                <a:custGeom>
                  <a:avLst/>
                  <a:gdLst/>
                  <a:ahLst/>
                  <a:cxnLst>
                    <a:cxn ang="0">
                      <a:pos x="8" y="1237"/>
                    </a:cxn>
                    <a:cxn ang="0">
                      <a:pos x="44" y="1032"/>
                    </a:cxn>
                    <a:cxn ang="0">
                      <a:pos x="108" y="841"/>
                    </a:cxn>
                    <a:cxn ang="0">
                      <a:pos x="200" y="664"/>
                    </a:cxn>
                    <a:cxn ang="0">
                      <a:pos x="314" y="501"/>
                    </a:cxn>
                    <a:cxn ang="0">
                      <a:pos x="451" y="358"/>
                    </a:cxn>
                    <a:cxn ang="0">
                      <a:pos x="607" y="235"/>
                    </a:cxn>
                    <a:cxn ang="0">
                      <a:pos x="780" y="136"/>
                    </a:cxn>
                    <a:cxn ang="0">
                      <a:pos x="967" y="62"/>
                    </a:cxn>
                    <a:cxn ang="0">
                      <a:pos x="1167" y="15"/>
                    </a:cxn>
                    <a:cxn ang="0">
                      <a:pos x="1376" y="0"/>
                    </a:cxn>
                    <a:cxn ang="0">
                      <a:pos x="1586" y="15"/>
                    </a:cxn>
                    <a:cxn ang="0">
                      <a:pos x="1786" y="62"/>
                    </a:cxn>
                    <a:cxn ang="0">
                      <a:pos x="1972" y="136"/>
                    </a:cxn>
                    <a:cxn ang="0">
                      <a:pos x="2145" y="235"/>
                    </a:cxn>
                    <a:cxn ang="0">
                      <a:pos x="2302" y="358"/>
                    </a:cxn>
                    <a:cxn ang="0">
                      <a:pos x="2438" y="501"/>
                    </a:cxn>
                    <a:cxn ang="0">
                      <a:pos x="2553" y="664"/>
                    </a:cxn>
                    <a:cxn ang="0">
                      <a:pos x="2644" y="841"/>
                    </a:cxn>
                    <a:cxn ang="0">
                      <a:pos x="2709" y="1032"/>
                    </a:cxn>
                    <a:cxn ang="0">
                      <a:pos x="2745" y="1237"/>
                    </a:cxn>
                    <a:cxn ang="0">
                      <a:pos x="2751" y="1447"/>
                    </a:cxn>
                    <a:cxn ang="0">
                      <a:pos x="2724" y="1655"/>
                    </a:cxn>
                    <a:cxn ang="0">
                      <a:pos x="2668" y="1850"/>
                    </a:cxn>
                    <a:cxn ang="0">
                      <a:pos x="2586" y="2034"/>
                    </a:cxn>
                    <a:cxn ang="0">
                      <a:pos x="2479" y="2201"/>
                    </a:cxn>
                    <a:cxn ang="0">
                      <a:pos x="2350" y="2351"/>
                    </a:cxn>
                    <a:cxn ang="0">
                      <a:pos x="2199" y="2480"/>
                    </a:cxn>
                    <a:cxn ang="0">
                      <a:pos x="2032" y="2587"/>
                    </a:cxn>
                    <a:cxn ang="0">
                      <a:pos x="1849" y="2670"/>
                    </a:cxn>
                    <a:cxn ang="0">
                      <a:pos x="1654" y="2725"/>
                    </a:cxn>
                    <a:cxn ang="0">
                      <a:pos x="1448" y="2752"/>
                    </a:cxn>
                    <a:cxn ang="0">
                      <a:pos x="1236" y="2746"/>
                    </a:cxn>
                    <a:cxn ang="0">
                      <a:pos x="1033" y="2710"/>
                    </a:cxn>
                    <a:cxn ang="0">
                      <a:pos x="840" y="2646"/>
                    </a:cxn>
                    <a:cxn ang="0">
                      <a:pos x="663" y="2554"/>
                    </a:cxn>
                    <a:cxn ang="0">
                      <a:pos x="501" y="2440"/>
                    </a:cxn>
                    <a:cxn ang="0">
                      <a:pos x="358" y="2303"/>
                    </a:cxn>
                    <a:cxn ang="0">
                      <a:pos x="235" y="2146"/>
                    </a:cxn>
                    <a:cxn ang="0">
                      <a:pos x="135" y="1973"/>
                    </a:cxn>
                    <a:cxn ang="0">
                      <a:pos x="62" y="1785"/>
                    </a:cxn>
                    <a:cxn ang="0">
                      <a:pos x="17" y="1587"/>
                    </a:cxn>
                    <a:cxn ang="0">
                      <a:pos x="0" y="1376"/>
                    </a:cxn>
                  </a:cxnLst>
                  <a:rect l="0" t="0" r="r" b="b"/>
                  <a:pathLst>
                    <a:path w="2753" h="2754">
                      <a:moveTo>
                        <a:pt x="0" y="1376"/>
                      </a:moveTo>
                      <a:lnTo>
                        <a:pt x="2" y="1306"/>
                      </a:lnTo>
                      <a:lnTo>
                        <a:pt x="8" y="1237"/>
                      </a:lnTo>
                      <a:lnTo>
                        <a:pt x="17" y="1167"/>
                      </a:lnTo>
                      <a:lnTo>
                        <a:pt x="29" y="1100"/>
                      </a:lnTo>
                      <a:lnTo>
                        <a:pt x="44" y="1032"/>
                      </a:lnTo>
                      <a:lnTo>
                        <a:pt x="62" y="967"/>
                      </a:lnTo>
                      <a:lnTo>
                        <a:pt x="84" y="904"/>
                      </a:lnTo>
                      <a:lnTo>
                        <a:pt x="108" y="841"/>
                      </a:lnTo>
                      <a:lnTo>
                        <a:pt x="135" y="779"/>
                      </a:lnTo>
                      <a:lnTo>
                        <a:pt x="167" y="721"/>
                      </a:lnTo>
                      <a:lnTo>
                        <a:pt x="200" y="664"/>
                      </a:lnTo>
                      <a:lnTo>
                        <a:pt x="235" y="606"/>
                      </a:lnTo>
                      <a:lnTo>
                        <a:pt x="274" y="554"/>
                      </a:lnTo>
                      <a:lnTo>
                        <a:pt x="314" y="501"/>
                      </a:lnTo>
                      <a:lnTo>
                        <a:pt x="358" y="452"/>
                      </a:lnTo>
                      <a:lnTo>
                        <a:pt x="403" y="403"/>
                      </a:lnTo>
                      <a:lnTo>
                        <a:pt x="451" y="358"/>
                      </a:lnTo>
                      <a:lnTo>
                        <a:pt x="501" y="315"/>
                      </a:lnTo>
                      <a:lnTo>
                        <a:pt x="553" y="274"/>
                      </a:lnTo>
                      <a:lnTo>
                        <a:pt x="607" y="235"/>
                      </a:lnTo>
                      <a:lnTo>
                        <a:pt x="663" y="199"/>
                      </a:lnTo>
                      <a:lnTo>
                        <a:pt x="720" y="166"/>
                      </a:lnTo>
                      <a:lnTo>
                        <a:pt x="780" y="136"/>
                      </a:lnTo>
                      <a:lnTo>
                        <a:pt x="840" y="109"/>
                      </a:lnTo>
                      <a:lnTo>
                        <a:pt x="904" y="83"/>
                      </a:lnTo>
                      <a:lnTo>
                        <a:pt x="967" y="62"/>
                      </a:lnTo>
                      <a:lnTo>
                        <a:pt x="1033" y="44"/>
                      </a:lnTo>
                      <a:lnTo>
                        <a:pt x="1099" y="27"/>
                      </a:lnTo>
                      <a:lnTo>
                        <a:pt x="1167" y="15"/>
                      </a:lnTo>
                      <a:lnTo>
                        <a:pt x="1236" y="8"/>
                      </a:lnTo>
                      <a:lnTo>
                        <a:pt x="1305" y="2"/>
                      </a:lnTo>
                      <a:lnTo>
                        <a:pt x="1376" y="0"/>
                      </a:lnTo>
                      <a:lnTo>
                        <a:pt x="1448" y="2"/>
                      </a:lnTo>
                      <a:lnTo>
                        <a:pt x="1517" y="8"/>
                      </a:lnTo>
                      <a:lnTo>
                        <a:pt x="1586" y="15"/>
                      </a:lnTo>
                      <a:lnTo>
                        <a:pt x="1654" y="27"/>
                      </a:lnTo>
                      <a:lnTo>
                        <a:pt x="1720" y="44"/>
                      </a:lnTo>
                      <a:lnTo>
                        <a:pt x="1786" y="62"/>
                      </a:lnTo>
                      <a:lnTo>
                        <a:pt x="1849" y="83"/>
                      </a:lnTo>
                      <a:lnTo>
                        <a:pt x="1912" y="109"/>
                      </a:lnTo>
                      <a:lnTo>
                        <a:pt x="1972" y="136"/>
                      </a:lnTo>
                      <a:lnTo>
                        <a:pt x="2032" y="166"/>
                      </a:lnTo>
                      <a:lnTo>
                        <a:pt x="2090" y="199"/>
                      </a:lnTo>
                      <a:lnTo>
                        <a:pt x="2145" y="235"/>
                      </a:lnTo>
                      <a:lnTo>
                        <a:pt x="2199" y="274"/>
                      </a:lnTo>
                      <a:lnTo>
                        <a:pt x="2252" y="315"/>
                      </a:lnTo>
                      <a:lnTo>
                        <a:pt x="2302" y="358"/>
                      </a:lnTo>
                      <a:lnTo>
                        <a:pt x="2350" y="403"/>
                      </a:lnTo>
                      <a:lnTo>
                        <a:pt x="2395" y="452"/>
                      </a:lnTo>
                      <a:lnTo>
                        <a:pt x="2438" y="501"/>
                      </a:lnTo>
                      <a:lnTo>
                        <a:pt x="2479" y="554"/>
                      </a:lnTo>
                      <a:lnTo>
                        <a:pt x="2518" y="606"/>
                      </a:lnTo>
                      <a:lnTo>
                        <a:pt x="2553" y="664"/>
                      </a:lnTo>
                      <a:lnTo>
                        <a:pt x="2586" y="721"/>
                      </a:lnTo>
                      <a:lnTo>
                        <a:pt x="2617" y="779"/>
                      </a:lnTo>
                      <a:lnTo>
                        <a:pt x="2644" y="841"/>
                      </a:lnTo>
                      <a:lnTo>
                        <a:pt x="2668" y="904"/>
                      </a:lnTo>
                      <a:lnTo>
                        <a:pt x="2691" y="967"/>
                      </a:lnTo>
                      <a:lnTo>
                        <a:pt x="2709" y="1032"/>
                      </a:lnTo>
                      <a:lnTo>
                        <a:pt x="2724" y="1100"/>
                      </a:lnTo>
                      <a:lnTo>
                        <a:pt x="2736" y="1167"/>
                      </a:lnTo>
                      <a:lnTo>
                        <a:pt x="2745" y="1237"/>
                      </a:lnTo>
                      <a:lnTo>
                        <a:pt x="2751" y="1306"/>
                      </a:lnTo>
                      <a:lnTo>
                        <a:pt x="2753" y="1376"/>
                      </a:lnTo>
                      <a:lnTo>
                        <a:pt x="2751" y="1447"/>
                      </a:lnTo>
                      <a:lnTo>
                        <a:pt x="2745" y="1518"/>
                      </a:lnTo>
                      <a:lnTo>
                        <a:pt x="2736" y="1587"/>
                      </a:lnTo>
                      <a:lnTo>
                        <a:pt x="2724" y="1655"/>
                      </a:lnTo>
                      <a:lnTo>
                        <a:pt x="2709" y="1721"/>
                      </a:lnTo>
                      <a:lnTo>
                        <a:pt x="2691" y="1785"/>
                      </a:lnTo>
                      <a:lnTo>
                        <a:pt x="2668" y="1850"/>
                      </a:lnTo>
                      <a:lnTo>
                        <a:pt x="2644" y="1913"/>
                      </a:lnTo>
                      <a:lnTo>
                        <a:pt x="2617" y="1973"/>
                      </a:lnTo>
                      <a:lnTo>
                        <a:pt x="2586" y="2034"/>
                      </a:lnTo>
                      <a:lnTo>
                        <a:pt x="2553" y="2091"/>
                      </a:lnTo>
                      <a:lnTo>
                        <a:pt x="2518" y="2146"/>
                      </a:lnTo>
                      <a:lnTo>
                        <a:pt x="2479" y="2201"/>
                      </a:lnTo>
                      <a:lnTo>
                        <a:pt x="2438" y="2253"/>
                      </a:lnTo>
                      <a:lnTo>
                        <a:pt x="2395" y="2303"/>
                      </a:lnTo>
                      <a:lnTo>
                        <a:pt x="2350" y="2351"/>
                      </a:lnTo>
                      <a:lnTo>
                        <a:pt x="2302" y="2396"/>
                      </a:lnTo>
                      <a:lnTo>
                        <a:pt x="2252" y="2440"/>
                      </a:lnTo>
                      <a:lnTo>
                        <a:pt x="2199" y="2480"/>
                      </a:lnTo>
                      <a:lnTo>
                        <a:pt x="2145" y="2518"/>
                      </a:lnTo>
                      <a:lnTo>
                        <a:pt x="2090" y="2554"/>
                      </a:lnTo>
                      <a:lnTo>
                        <a:pt x="2032" y="2587"/>
                      </a:lnTo>
                      <a:lnTo>
                        <a:pt x="1972" y="2617"/>
                      </a:lnTo>
                      <a:lnTo>
                        <a:pt x="1912" y="2646"/>
                      </a:lnTo>
                      <a:lnTo>
                        <a:pt x="1849" y="2670"/>
                      </a:lnTo>
                      <a:lnTo>
                        <a:pt x="1786" y="2692"/>
                      </a:lnTo>
                      <a:lnTo>
                        <a:pt x="1720" y="2710"/>
                      </a:lnTo>
                      <a:lnTo>
                        <a:pt x="1654" y="2725"/>
                      </a:lnTo>
                      <a:lnTo>
                        <a:pt x="1586" y="2737"/>
                      </a:lnTo>
                      <a:lnTo>
                        <a:pt x="1517" y="2746"/>
                      </a:lnTo>
                      <a:lnTo>
                        <a:pt x="1448" y="2752"/>
                      </a:lnTo>
                      <a:lnTo>
                        <a:pt x="1376" y="2754"/>
                      </a:lnTo>
                      <a:lnTo>
                        <a:pt x="1305" y="2752"/>
                      </a:lnTo>
                      <a:lnTo>
                        <a:pt x="1236" y="2746"/>
                      </a:lnTo>
                      <a:lnTo>
                        <a:pt x="1167" y="2737"/>
                      </a:lnTo>
                      <a:lnTo>
                        <a:pt x="1099" y="2725"/>
                      </a:lnTo>
                      <a:lnTo>
                        <a:pt x="1033" y="2710"/>
                      </a:lnTo>
                      <a:lnTo>
                        <a:pt x="967" y="2692"/>
                      </a:lnTo>
                      <a:lnTo>
                        <a:pt x="904" y="2670"/>
                      </a:lnTo>
                      <a:lnTo>
                        <a:pt x="840" y="2646"/>
                      </a:lnTo>
                      <a:lnTo>
                        <a:pt x="780" y="2617"/>
                      </a:lnTo>
                      <a:lnTo>
                        <a:pt x="720" y="2587"/>
                      </a:lnTo>
                      <a:lnTo>
                        <a:pt x="663" y="2554"/>
                      </a:lnTo>
                      <a:lnTo>
                        <a:pt x="607" y="2518"/>
                      </a:lnTo>
                      <a:lnTo>
                        <a:pt x="553" y="2480"/>
                      </a:lnTo>
                      <a:lnTo>
                        <a:pt x="501" y="2440"/>
                      </a:lnTo>
                      <a:lnTo>
                        <a:pt x="451" y="2396"/>
                      </a:lnTo>
                      <a:lnTo>
                        <a:pt x="403" y="2351"/>
                      </a:lnTo>
                      <a:lnTo>
                        <a:pt x="358" y="2303"/>
                      </a:lnTo>
                      <a:lnTo>
                        <a:pt x="314" y="2253"/>
                      </a:lnTo>
                      <a:lnTo>
                        <a:pt x="274" y="2201"/>
                      </a:lnTo>
                      <a:lnTo>
                        <a:pt x="235" y="2146"/>
                      </a:lnTo>
                      <a:lnTo>
                        <a:pt x="200" y="2091"/>
                      </a:lnTo>
                      <a:lnTo>
                        <a:pt x="167" y="2034"/>
                      </a:lnTo>
                      <a:lnTo>
                        <a:pt x="135" y="1973"/>
                      </a:lnTo>
                      <a:lnTo>
                        <a:pt x="108" y="1913"/>
                      </a:lnTo>
                      <a:lnTo>
                        <a:pt x="84" y="1850"/>
                      </a:lnTo>
                      <a:lnTo>
                        <a:pt x="62" y="1785"/>
                      </a:lnTo>
                      <a:lnTo>
                        <a:pt x="44" y="1721"/>
                      </a:lnTo>
                      <a:lnTo>
                        <a:pt x="29" y="1655"/>
                      </a:lnTo>
                      <a:lnTo>
                        <a:pt x="17" y="1587"/>
                      </a:lnTo>
                      <a:lnTo>
                        <a:pt x="8" y="1518"/>
                      </a:lnTo>
                      <a:lnTo>
                        <a:pt x="2" y="1447"/>
                      </a:lnTo>
                      <a:lnTo>
                        <a:pt x="0" y="1376"/>
                      </a:lnTo>
                    </a:path>
                  </a:pathLst>
                </a:custGeom>
                <a:solidFill>
                  <a:schemeClr val="accent2">
                    <a:alpha val="5000"/>
                  </a:schemeClr>
                </a:solidFill>
                <a:ln w="19050" cmpd="sng">
                  <a:solidFill>
                    <a:srgbClr val="0083BE">
                      <a:lumMod val="60000"/>
                      <a:lumOff val="40000"/>
                    </a:srgbClr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anchor="b">
                  <a:noAutofit/>
                </a:bodyPr>
                <a:lstStyle/>
                <a:p>
                  <a:pPr defTabSz="844083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sz="1662" kern="0" dirty="0">
                    <a:solidFill>
                      <a:sysClr val="windowText" lastClr="000000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sp>
              <p:nvSpPr>
                <p:cNvPr id="26" name="Rectangle 2"/>
                <p:cNvSpPr>
                  <a:spLocks noChangeArrowheads="1"/>
                </p:cNvSpPr>
                <p:nvPr>
                  <p:custDataLst>
                    <p:tags r:id="rId1"/>
                  </p:custDataLst>
                </p:nvPr>
              </p:nvSpPr>
              <p:spPr bwMode="gray">
                <a:xfrm>
                  <a:off x="1197706" y="2605490"/>
                  <a:ext cx="2062338" cy="714039"/>
                </a:xfrm>
                <a:prstGeom prst="rect">
                  <a:avLst/>
                </a:prstGeom>
                <a:ln w="12700">
                  <a:noFill/>
                  <a:prstDash val="dash"/>
                </a:ln>
              </p:spPr>
              <p:txBody>
                <a:bodyPr wrap="square" lIns="66462" tIns="66462">
                  <a:noAutofit/>
                </a:bodyPr>
                <a:lstStyle/>
                <a:p>
                  <a:pPr algn="ctr" defTabSz="844083">
                    <a:defRPr/>
                  </a:pPr>
                  <a:r>
                    <a:rPr lang="ru-RU" sz="831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Нуждающиеся инвалиды</a:t>
                  </a:r>
                </a:p>
              </p:txBody>
            </p:sp>
            <p:sp>
              <p:nvSpPr>
                <p:cNvPr id="27" name="Rectangle 2"/>
                <p:cNvSpPr>
                  <a:spLocks noChangeArrowheads="1"/>
                </p:cNvSpPr>
                <p:nvPr>
                  <p:custDataLst>
                    <p:tags r:id="rId2"/>
                  </p:custDataLst>
                </p:nvPr>
              </p:nvSpPr>
              <p:spPr bwMode="gray">
                <a:xfrm>
                  <a:off x="2481114" y="3957338"/>
                  <a:ext cx="1885060" cy="714038"/>
                </a:xfrm>
                <a:prstGeom prst="rect">
                  <a:avLst/>
                </a:prstGeom>
                <a:ln w="12700">
                  <a:noFill/>
                  <a:prstDash val="dash"/>
                </a:ln>
              </p:spPr>
              <p:txBody>
                <a:bodyPr wrap="square" lIns="66462" tIns="66462">
                  <a:noAutofit/>
                </a:bodyPr>
                <a:lstStyle/>
                <a:p>
                  <a:pPr algn="ctr"/>
                  <a:r>
                    <a:rPr lang="ru-RU" sz="831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Нуждающиеся пожилые</a:t>
                  </a:r>
                </a:p>
              </p:txBody>
            </p:sp>
            <p:sp>
              <p:nvSpPr>
                <p:cNvPr id="28" name="Rectangle 2"/>
                <p:cNvSpPr>
                  <a:spLocks noChangeArrowheads="1"/>
                </p:cNvSpPr>
                <p:nvPr>
                  <p:custDataLst>
                    <p:tags r:id="rId3"/>
                  </p:custDataLst>
                </p:nvPr>
              </p:nvSpPr>
              <p:spPr bwMode="gray">
                <a:xfrm>
                  <a:off x="188279" y="3811782"/>
                  <a:ext cx="1982694" cy="656144"/>
                </a:xfrm>
                <a:prstGeom prst="rect">
                  <a:avLst/>
                </a:prstGeom>
                <a:ln w="12700">
                  <a:noFill/>
                  <a:prstDash val="dash"/>
                </a:ln>
              </p:spPr>
              <p:txBody>
                <a:bodyPr wrap="square" lIns="66462" tIns="66462">
                  <a:noAutofit/>
                </a:bodyPr>
                <a:lstStyle/>
                <a:p>
                  <a:pPr algn="ctr" defTabSz="844083">
                    <a:defRPr/>
                  </a:pPr>
                  <a:r>
                    <a:rPr lang="ru-RU" sz="831" b="1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Нуждающиеся неизлечимо больные</a:t>
                  </a:r>
                </a:p>
              </p:txBody>
            </p:sp>
            <p:pic>
              <p:nvPicPr>
                <p:cNvPr id="7" name="Рисунок 6">
                  <a:extLst>
                    <a:ext uri="{FF2B5EF4-FFF2-40B4-BE49-F238E27FC236}">
                      <a16:creationId xmlns:a16="http://schemas.microsoft.com/office/drawing/2014/main" xmlns="" id="{053D3AFE-99EF-47EB-A302-A226044B678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print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7158" y="4689958"/>
                  <a:ext cx="684000" cy="684002"/>
                </a:xfrm>
                <a:prstGeom prst="rect">
                  <a:avLst/>
                </a:prstGeom>
              </p:spPr>
            </p:pic>
            <p:pic>
              <p:nvPicPr>
                <p:cNvPr id="9" name="Рисунок 8">
                  <a:extLst>
                    <a:ext uri="{FF2B5EF4-FFF2-40B4-BE49-F238E27FC236}">
                      <a16:creationId xmlns:a16="http://schemas.microsoft.com/office/drawing/2014/main" xmlns="" id="{E8F6303D-CF97-4FF2-AEF6-BF039953A31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 cstate="print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976457" y="4716708"/>
                  <a:ext cx="684000" cy="684002"/>
                </a:xfrm>
                <a:prstGeom prst="rect">
                  <a:avLst/>
                </a:prstGeom>
              </p:spPr>
            </p:pic>
          </p:grpSp>
          <p:pic>
            <p:nvPicPr>
              <p:cNvPr id="46" name="Рисунок 45">
                <a:extLst>
                  <a:ext uri="{FF2B5EF4-FFF2-40B4-BE49-F238E27FC236}">
                    <a16:creationId xmlns:a16="http://schemas.microsoft.com/office/drawing/2014/main" xmlns="" id="{5E727E75-3298-4BEE-8176-D9A0A179C2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03641" y="1649648"/>
                <a:ext cx="684000" cy="684002"/>
              </a:xfrm>
              <a:prstGeom prst="rect">
                <a:avLst/>
              </a:prstGeom>
            </p:spPr>
          </p:pic>
        </p:grpSp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xmlns="" id="{8394B506-B9B4-4757-92D3-4AD664BC2492}"/>
                </a:ext>
              </a:extLst>
            </p:cNvPr>
            <p:cNvCxnSpPr>
              <a:cxnSpLocks/>
              <a:stCxn id="23" idx="6"/>
            </p:cNvCxnSpPr>
            <p:nvPr/>
          </p:nvCxnSpPr>
          <p:spPr bwMode="auto">
            <a:xfrm flipV="1">
              <a:off x="2900760" y="2828817"/>
              <a:ext cx="487593" cy="131307"/>
            </a:xfrm>
            <a:prstGeom prst="line">
              <a:avLst/>
            </a:prstGeom>
            <a:ln w="12700">
              <a:solidFill>
                <a:schemeClr val="accent2"/>
              </a:solidFill>
              <a:prstDash val="dash"/>
              <a:headEnd type="none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xmlns="" id="{167CE873-BB2A-487F-9D39-84D532EC70A6}"/>
                </a:ext>
              </a:extLst>
            </p:cNvPr>
            <p:cNvSpPr/>
            <p:nvPr/>
          </p:nvSpPr>
          <p:spPr>
            <a:xfrm>
              <a:off x="2792760" y="2906125"/>
              <a:ext cx="108000" cy="108000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chemeClr val="accent2"/>
              </a:solidFill>
            </a:ln>
          </p:spPr>
          <p:txBody>
            <a:bodyPr rtlCol="0" anchor="ctr">
              <a:noAutofit/>
            </a:bodyPr>
            <a:lstStyle/>
            <a:p>
              <a:pPr marL="158265" indent="-158265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charset="0"/>
                <a:buChar char="►"/>
              </a:pPr>
              <a:endParaRPr lang="ru-RU" sz="923" dirty="0">
                <a:solidFill>
                  <a:srgbClr val="64646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2CE0A533-12BB-469D-94DC-5FB960166A93}"/>
              </a:ext>
            </a:extLst>
          </p:cNvPr>
          <p:cNvSpPr/>
          <p:nvPr/>
        </p:nvSpPr>
        <p:spPr>
          <a:xfrm>
            <a:off x="2987824" y="2708920"/>
            <a:ext cx="1524334" cy="654802"/>
          </a:xfrm>
          <a:prstGeom prst="rect">
            <a:avLst/>
          </a:prstGeom>
          <a:ln w="12700">
            <a:noFill/>
            <a:prstDash val="dash"/>
          </a:ln>
        </p:spPr>
        <p:txBody>
          <a:bodyPr wrap="square" lIns="66462" tIns="66462">
            <a:noAutofit/>
          </a:bodyPr>
          <a:lstStyle/>
          <a:p>
            <a:pPr algn="l"/>
            <a:r>
              <a:rPr lang="ru-RU" sz="12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Граждане, оказывающие надомную помощь</a:t>
            </a: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xmlns="" id="{18AE1F5E-A6D9-478F-A043-28ADB96285E1}"/>
              </a:ext>
            </a:extLst>
          </p:cNvPr>
          <p:cNvSpPr/>
          <p:nvPr/>
        </p:nvSpPr>
        <p:spPr>
          <a:xfrm>
            <a:off x="361839" y="6253930"/>
            <a:ext cx="2797697" cy="191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46" dirty="0">
                <a:solidFill>
                  <a:schemeClr val="accent1"/>
                </a:solidFill>
                <a:latin typeface="+mn-lt"/>
                <a:cs typeface="Arial" pitchFamily="34" charset="0"/>
              </a:rPr>
              <a:t>Источник данных</a:t>
            </a:r>
            <a:r>
              <a:rPr lang="ru-RU" sz="64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pitchFamily="34" charset="0"/>
              </a:rPr>
              <a:t>: *Всемирная организация здравоохранения: ВОЗ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35549D5-777B-4BDA-BA1B-1E36CA1D4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37436" y="6445649"/>
            <a:ext cx="2057400" cy="365125"/>
          </a:xfrm>
        </p:spPr>
        <p:txBody>
          <a:bodyPr/>
          <a:lstStyle/>
          <a:p>
            <a:fld id="{FBB4EB2D-D22E-4EA7-85BB-A69C072CA73D}" type="slidenum">
              <a:rPr lang="ru-RU" smtClean="0"/>
              <a:pPr/>
              <a:t>2</a:t>
            </a:fld>
            <a:endParaRPr lang="ru-RU"/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xmlns="" id="{C1481E85-20DD-4901-BD37-FAAF57980FFE}"/>
              </a:ext>
            </a:extLst>
          </p:cNvPr>
          <p:cNvSpPr/>
          <p:nvPr/>
        </p:nvSpPr>
        <p:spPr>
          <a:xfrm>
            <a:off x="4639440" y="3212976"/>
            <a:ext cx="4504560" cy="15901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auto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Увеличение продолжительности жизни</a:t>
            </a:r>
            <a:endParaRPr lang="en-US" sz="1400" b="0" dirty="0">
              <a:solidFill>
                <a:schemeClr val="tx1">
                  <a:lumMod val="65000"/>
                  <a:lumOff val="35000"/>
                </a:schemeClr>
              </a:solidFill>
              <a:latin typeface="Times New Roman" pitchFamily="18" charset="0"/>
              <a:ea typeface="Tahoma" panose="020B0604030504040204" pitchFamily="34" charset="0"/>
              <a:cs typeface="Times New Roman" pitchFamily="18" charset="0"/>
            </a:endParaRPr>
          </a:p>
          <a:p>
            <a:pPr marL="171450" indent="-171450" algn="just" fontAlgn="auto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Рост удельного веса лиц в возрасте старше трудоспособного (более 25%)</a:t>
            </a:r>
            <a:endParaRPr lang="en-US" sz="1400" b="0" dirty="0">
              <a:solidFill>
                <a:schemeClr val="tx1">
                  <a:lumMod val="65000"/>
                  <a:lumOff val="35000"/>
                </a:schemeClr>
              </a:solidFill>
              <a:latin typeface="Times New Roman" pitchFamily="18" charset="0"/>
              <a:ea typeface="Tahoma" panose="020B0604030504040204" pitchFamily="34" charset="0"/>
              <a:cs typeface="Times New Roman" pitchFamily="18" charset="0"/>
            </a:endParaRPr>
          </a:p>
          <a:p>
            <a:pPr marL="171450" indent="-171450" algn="just" fontAlgn="auto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Увеличение численности пожилого населения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на 20%</a:t>
            </a:r>
            <a:r>
              <a:rPr lang="ru-RU" sz="1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 за период 2006–2015 гг. при росте численности жителей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на 2%</a:t>
            </a:r>
            <a:r>
              <a:rPr lang="ru-RU" sz="1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 за тот же период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A1DCDB17-88D3-400A-B7CD-AD30E6043CC9}"/>
              </a:ext>
            </a:extLst>
          </p:cNvPr>
          <p:cNvSpPr/>
          <p:nvPr/>
        </p:nvSpPr>
        <p:spPr>
          <a:xfrm>
            <a:off x="4544996" y="2748476"/>
            <a:ext cx="459900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России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предстоит столкнуться с существенным ростом числа населения старше трудоспособного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xmlns="" id="{7D67D00C-54FD-428A-A2DF-BD76FD68444B}"/>
              </a:ext>
            </a:extLst>
          </p:cNvPr>
          <p:cNvSpPr/>
          <p:nvPr/>
        </p:nvSpPr>
        <p:spPr>
          <a:xfrm>
            <a:off x="4639438" y="4725144"/>
            <a:ext cx="450456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Текущие финансовый дефицит затрагивает все сферы социального обслуживания и медицинской помощи на федеральном и региональном уровнях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xmlns="" id="{95D4F819-638F-4818-95C7-5C796194EF48}"/>
              </a:ext>
            </a:extLst>
          </p:cNvPr>
          <p:cNvSpPr/>
          <p:nvPr/>
        </p:nvSpPr>
        <p:spPr>
          <a:xfrm>
            <a:off x="4639438" y="5445224"/>
            <a:ext cx="450456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В настоящие момент системы социального обслуживания и медицинской помощи разобщены на уровне работы с человеком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xmlns="" id="{63B91130-3540-490C-A567-B9F4B9F4B9E1}"/>
              </a:ext>
            </a:extLst>
          </p:cNvPr>
          <p:cNvSpPr/>
          <p:nvPr/>
        </p:nvSpPr>
        <p:spPr>
          <a:xfrm>
            <a:off x="4857639" y="2365617"/>
            <a:ext cx="3026729" cy="2668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Предпосылки внедрения СДУ</a:t>
            </a:r>
          </a:p>
        </p:txBody>
      </p:sp>
    </p:spTree>
    <p:extLst>
      <p:ext uri="{BB962C8B-B14F-4D97-AF65-F5344CB8AC3E}">
        <p14:creationId xmlns:p14="http://schemas.microsoft.com/office/powerpoint/2010/main" val="16486922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260648"/>
            <a:ext cx="7886700" cy="692696"/>
          </a:xfrm>
        </p:spPr>
        <p:txBody>
          <a:bodyPr>
            <a:noAutofit/>
          </a:bodyPr>
          <a:lstStyle/>
          <a:p>
            <a:pPr algn="ctr"/>
            <a:r>
              <a:rPr lang="ru-RU" sz="28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Основные направления Системы долговременного уход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35549D5-777B-4BDA-BA1B-1E36CA1D4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20272" y="6248203"/>
            <a:ext cx="2057400" cy="365125"/>
          </a:xfrm>
        </p:spPr>
        <p:txBody>
          <a:bodyPr/>
          <a:lstStyle/>
          <a:p>
            <a:fld id="{FBB4EB2D-D22E-4EA7-85BB-A69C072CA73D}" type="slidenum">
              <a:rPr lang="ru-RU" smtClean="0"/>
              <a:pPr/>
              <a:t>3</a:t>
            </a:fld>
            <a:endParaRPr lang="ru-RU" dirty="0"/>
          </a:p>
        </p:txBody>
      </p:sp>
      <p:pic>
        <p:nvPicPr>
          <p:cNvPr id="18" name="Рисунок 17" descr="Человек">
            <a:extLst>
              <a:ext uri="{FF2B5EF4-FFF2-40B4-BE49-F238E27FC236}">
                <a16:creationId xmlns:a16="http://schemas.microsoft.com/office/drawing/2014/main" xmlns="" id="{D6B864F3-32EA-4ADA-B7DD-E0BA4E4279D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466864" y="2275848"/>
            <a:ext cx="914400" cy="914400"/>
          </a:xfrm>
          <a:prstGeom prst="rect">
            <a:avLst/>
          </a:prstGeom>
        </p:spPr>
      </p:pic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xmlns="" id="{E05C200B-E397-4F6B-BF9F-2043D914CD99}"/>
              </a:ext>
            </a:extLst>
          </p:cNvPr>
          <p:cNvCxnSpPr/>
          <p:nvPr/>
        </p:nvCxnSpPr>
        <p:spPr>
          <a:xfrm flipH="1" flipV="1">
            <a:off x="2987824" y="1196752"/>
            <a:ext cx="534377" cy="8640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xmlns="" id="{C550A4C8-F553-46DC-B3DB-162D7E4AB2D8}"/>
              </a:ext>
            </a:extLst>
          </p:cNvPr>
          <p:cNvCxnSpPr>
            <a:cxnSpLocks/>
          </p:cNvCxnSpPr>
          <p:nvPr/>
        </p:nvCxnSpPr>
        <p:spPr>
          <a:xfrm>
            <a:off x="467544" y="1196752"/>
            <a:ext cx="25202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D4845A0E-31A9-4BE4-96B4-5E015F026E05}"/>
              </a:ext>
            </a:extLst>
          </p:cNvPr>
          <p:cNvSpPr txBox="1"/>
          <p:nvPr/>
        </p:nvSpPr>
        <p:spPr>
          <a:xfrm>
            <a:off x="611561" y="1268760"/>
            <a:ext cx="237626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Здравоохране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Гериатр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err="1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Реабилиталогия</a:t>
            </a:r>
            <a:endParaRPr lang="ru-RU" dirty="0">
              <a:latin typeface="Times New Roman" pitchFamily="18" charset="0"/>
              <a:ea typeface="Tahoma" panose="020B0604030504040204" pitchFamily="34" charset="0"/>
              <a:cs typeface="Times New Roman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Паллиати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latin typeface="Times New Roman" pitchFamily="18" charset="0"/>
              <a:ea typeface="Tahoma" panose="020B0604030504040204" pitchFamily="34" charset="0"/>
              <a:cs typeface="Times New Roman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Обеспеченность </a:t>
            </a:r>
            <a:r>
              <a:rPr lang="ru-RU" dirty="0" err="1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лексредствами</a:t>
            </a:r>
            <a:endParaRPr lang="ru-RU" dirty="0">
              <a:latin typeface="Times New Roman" pitchFamily="18" charset="0"/>
              <a:ea typeface="Tahoma" panose="020B0604030504040204" pitchFamily="34" charset="0"/>
              <a:cs typeface="Times New Roman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Удобный доступ к медицинской помощ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Медицинский патронаж</a:t>
            </a:r>
          </a:p>
        </p:txBody>
      </p: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xmlns="" id="{CAF042DF-BA6C-4D91-827D-5FCB705BBCDF}"/>
              </a:ext>
            </a:extLst>
          </p:cNvPr>
          <p:cNvCxnSpPr>
            <a:cxnSpLocks/>
          </p:cNvCxnSpPr>
          <p:nvPr/>
        </p:nvCxnSpPr>
        <p:spPr>
          <a:xfrm flipV="1">
            <a:off x="4246590" y="1196752"/>
            <a:ext cx="613442" cy="87000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xmlns="" id="{B8700090-DE1B-4959-B807-D16701FC41B9}"/>
              </a:ext>
            </a:extLst>
          </p:cNvPr>
          <p:cNvCxnSpPr>
            <a:cxnSpLocks/>
          </p:cNvCxnSpPr>
          <p:nvPr/>
        </p:nvCxnSpPr>
        <p:spPr>
          <a:xfrm>
            <a:off x="4860032" y="1196752"/>
            <a:ext cx="367240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0717CC30-44F9-4ECF-A0DA-125FCE4EC6AF}"/>
              </a:ext>
            </a:extLst>
          </p:cNvPr>
          <p:cNvSpPr txBox="1"/>
          <p:nvPr/>
        </p:nvSpPr>
        <p:spPr>
          <a:xfrm>
            <a:off x="4973043" y="1268760"/>
            <a:ext cx="355939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Социальное обслужива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Адресная социальная помощ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Оптимальный набор услуг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Широкий спектр возможностей социальной адаптации</a:t>
            </a:r>
          </a:p>
          <a:p>
            <a:endParaRPr lang="ru-RU" dirty="0">
              <a:latin typeface="Times New Roman" pitchFamily="18" charset="0"/>
              <a:ea typeface="Tahoma" panose="020B0604030504040204" pitchFamily="34" charset="0"/>
              <a:cs typeface="Times New Roman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Современные учрежде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Социальный патронаж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Родственный уход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Обеспечение занятост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Обеспеченность ТСР</a:t>
            </a:r>
          </a:p>
        </p:txBody>
      </p:sp>
      <p:sp>
        <p:nvSpPr>
          <p:cNvPr id="63" name="Равнобедренный треугольник 62">
            <a:extLst>
              <a:ext uri="{FF2B5EF4-FFF2-40B4-BE49-F238E27FC236}">
                <a16:creationId xmlns:a16="http://schemas.microsoft.com/office/drawing/2014/main" xmlns="" id="{3F676B59-71FB-4072-8F1E-4C75CE79F39A}"/>
              </a:ext>
            </a:extLst>
          </p:cNvPr>
          <p:cNvSpPr/>
          <p:nvPr/>
        </p:nvSpPr>
        <p:spPr>
          <a:xfrm>
            <a:off x="3131840" y="4293096"/>
            <a:ext cx="1584176" cy="288032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6" name="Рисунок 65" descr="Список">
            <a:extLst>
              <a:ext uri="{FF2B5EF4-FFF2-40B4-BE49-F238E27FC236}">
                <a16:creationId xmlns:a16="http://schemas.microsoft.com/office/drawing/2014/main" xmlns="" id="{C7C43D65-FD91-486A-B683-9664FD4B89D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549650" y="4959746"/>
            <a:ext cx="834405" cy="834405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78AEB163-CF5E-499A-9735-4783BDF3B926}"/>
              </a:ext>
            </a:extLst>
          </p:cNvPr>
          <p:cNvSpPr txBox="1"/>
          <p:nvPr/>
        </p:nvSpPr>
        <p:spPr>
          <a:xfrm>
            <a:off x="2958133" y="4527698"/>
            <a:ext cx="19018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при необходимости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xmlns="" id="{1E8D1263-ED79-4458-83D0-61BD7A7E7EFC}"/>
              </a:ext>
            </a:extLst>
          </p:cNvPr>
          <p:cNvSpPr txBox="1"/>
          <p:nvPr/>
        </p:nvSpPr>
        <p:spPr>
          <a:xfrm>
            <a:off x="2278426" y="5751834"/>
            <a:ext cx="129614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Программа ухода и соц. </a:t>
            </a:r>
            <a:r>
              <a:rPr lang="ru-RU" sz="14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патронаж</a:t>
            </a:r>
          </a:p>
        </p:txBody>
      </p:sp>
      <p:pic>
        <p:nvPicPr>
          <p:cNvPr id="82" name="Рисунок 81" descr="Список">
            <a:extLst>
              <a:ext uri="{FF2B5EF4-FFF2-40B4-BE49-F238E27FC236}">
                <a16:creationId xmlns:a16="http://schemas.microsoft.com/office/drawing/2014/main" xmlns="" id="{71B97C91-78C3-43DE-9503-62246BC83FA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571582" y="4959746"/>
            <a:ext cx="834405" cy="834405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xmlns="" id="{E6B21BB5-B5F4-4E58-AAA0-D2A11DEF5D50}"/>
              </a:ext>
            </a:extLst>
          </p:cNvPr>
          <p:cNvSpPr txBox="1"/>
          <p:nvPr/>
        </p:nvSpPr>
        <p:spPr>
          <a:xfrm>
            <a:off x="3300358" y="5751834"/>
            <a:ext cx="12961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Программа медицинского</a:t>
            </a:r>
          </a:p>
          <a:p>
            <a:pPr algn="ctr"/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патронажа</a:t>
            </a:r>
          </a:p>
        </p:txBody>
      </p:sp>
      <p:pic>
        <p:nvPicPr>
          <p:cNvPr id="84" name="Рисунок 83" descr="Список">
            <a:extLst>
              <a:ext uri="{FF2B5EF4-FFF2-40B4-BE49-F238E27FC236}">
                <a16:creationId xmlns:a16="http://schemas.microsoft.com/office/drawing/2014/main" xmlns="" id="{B1B64BBC-F5AC-466D-B621-026342629B2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660559" y="4959746"/>
            <a:ext cx="834405" cy="834405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xmlns="" id="{34ABACF3-7086-4266-A411-9A82A4FFCE4D}"/>
              </a:ext>
            </a:extLst>
          </p:cNvPr>
          <p:cNvSpPr txBox="1"/>
          <p:nvPr/>
        </p:nvSpPr>
        <p:spPr>
          <a:xfrm>
            <a:off x="4389335" y="5751834"/>
            <a:ext cx="12961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Программа реабилитации</a:t>
            </a:r>
          </a:p>
        </p:txBody>
      </p:sp>
      <p:pic>
        <p:nvPicPr>
          <p:cNvPr id="86" name="Рисунок 85" descr="Список">
            <a:extLst>
              <a:ext uri="{FF2B5EF4-FFF2-40B4-BE49-F238E27FC236}">
                <a16:creationId xmlns:a16="http://schemas.microsoft.com/office/drawing/2014/main" xmlns="" id="{C0A8386E-0A0F-476B-9534-AD6387D9888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5749536" y="4959746"/>
            <a:ext cx="834405" cy="834405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xmlns="" id="{915E51C8-D88E-4885-9A44-F6B9EA0A2C5B}"/>
              </a:ext>
            </a:extLst>
          </p:cNvPr>
          <p:cNvSpPr txBox="1"/>
          <p:nvPr/>
        </p:nvSpPr>
        <p:spPr>
          <a:xfrm>
            <a:off x="5478312" y="5751834"/>
            <a:ext cx="12961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Обеспеченность лекарственными средствами</a:t>
            </a:r>
          </a:p>
        </p:txBody>
      </p:sp>
      <p:pic>
        <p:nvPicPr>
          <p:cNvPr id="88" name="Рисунок 87" descr="Список">
            <a:extLst>
              <a:ext uri="{FF2B5EF4-FFF2-40B4-BE49-F238E27FC236}">
                <a16:creationId xmlns:a16="http://schemas.microsoft.com/office/drawing/2014/main" xmlns="" id="{433A87FB-D7B1-448D-86E6-4DF3D6623C5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6844552" y="4959746"/>
            <a:ext cx="834405" cy="834405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xmlns="" id="{E3A8051E-FF93-419F-8471-4C15B097F0AA}"/>
              </a:ext>
            </a:extLst>
          </p:cNvPr>
          <p:cNvSpPr txBox="1"/>
          <p:nvPr/>
        </p:nvSpPr>
        <p:spPr>
          <a:xfrm>
            <a:off x="6660232" y="5733256"/>
            <a:ext cx="12961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Информация по занятости</a:t>
            </a:r>
          </a:p>
        </p:txBody>
      </p:sp>
      <p:pic>
        <p:nvPicPr>
          <p:cNvPr id="90" name="Рисунок 89" descr="Список">
            <a:extLst>
              <a:ext uri="{FF2B5EF4-FFF2-40B4-BE49-F238E27FC236}">
                <a16:creationId xmlns:a16="http://schemas.microsoft.com/office/drawing/2014/main" xmlns="" id="{8A6ADE0B-CC20-4804-89DB-CD7C7516E79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7939568" y="4959746"/>
            <a:ext cx="834405" cy="834405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274F0580-572A-433A-A7F3-70CF76AA7B67}"/>
              </a:ext>
            </a:extLst>
          </p:cNvPr>
          <p:cNvSpPr txBox="1"/>
          <p:nvPr/>
        </p:nvSpPr>
        <p:spPr>
          <a:xfrm>
            <a:off x="7812360" y="5751834"/>
            <a:ext cx="11521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Направление на МСЭ</a:t>
            </a: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xmlns="" id="{3BE47475-D809-4A8E-9A3F-E611D609F2B9}"/>
              </a:ext>
            </a:extLst>
          </p:cNvPr>
          <p:cNvSpPr/>
          <p:nvPr/>
        </p:nvSpPr>
        <p:spPr>
          <a:xfrm>
            <a:off x="406218" y="4895284"/>
            <a:ext cx="8473343" cy="14943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xmlns="" id="{3B5E152E-442D-4806-9326-8650A82F7BFB}"/>
              </a:ext>
            </a:extLst>
          </p:cNvPr>
          <p:cNvSpPr txBox="1"/>
          <p:nvPr/>
        </p:nvSpPr>
        <p:spPr>
          <a:xfrm>
            <a:off x="323528" y="5034656"/>
            <a:ext cx="197390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Одно окно</a:t>
            </a:r>
          </a:p>
          <a:p>
            <a:pPr algn="ctr"/>
            <a:r>
              <a:rPr lang="ru-RU" sz="4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 </a:t>
            </a:r>
          </a:p>
          <a:p>
            <a:pPr algn="ctr"/>
            <a:r>
              <a:rPr lang="ru-RU" sz="14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Одно обращение </a:t>
            </a:r>
          </a:p>
          <a:p>
            <a:pPr algn="ctr"/>
            <a:endParaRPr lang="ru-RU" sz="400" b="1" dirty="0">
              <a:latin typeface="Times New Roman" pitchFamily="18" charset="0"/>
              <a:ea typeface="Tahoma" panose="020B0604030504040204" pitchFamily="34" charset="0"/>
              <a:cs typeface="Times New Roman" pitchFamily="18" charset="0"/>
            </a:endParaRPr>
          </a:p>
          <a:p>
            <a:pPr algn="ctr"/>
            <a:r>
              <a:rPr lang="ru-RU" sz="14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Унифицированная система оценки</a:t>
            </a:r>
          </a:p>
        </p:txBody>
      </p:sp>
      <p:sp>
        <p:nvSpPr>
          <p:cNvPr id="94" name="Равнобедренный треугольник 93">
            <a:extLst>
              <a:ext uri="{FF2B5EF4-FFF2-40B4-BE49-F238E27FC236}">
                <a16:creationId xmlns:a16="http://schemas.microsoft.com/office/drawing/2014/main" xmlns="" id="{51A7719A-27B1-455F-9D37-B71F48DDC9AE}"/>
              </a:ext>
            </a:extLst>
          </p:cNvPr>
          <p:cNvSpPr/>
          <p:nvPr/>
        </p:nvSpPr>
        <p:spPr>
          <a:xfrm rot="5400000">
            <a:off x="2042997" y="5284901"/>
            <a:ext cx="592999" cy="159696"/>
          </a:xfrm>
          <a:prstGeom prst="triangl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91553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92DE0B2-E557-476D-8202-E777EE6C89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44" y="188640"/>
            <a:ext cx="7886700" cy="908720"/>
          </a:xfrm>
        </p:spPr>
        <p:txBody>
          <a:bodyPr vert="horz" lIns="0" tIns="42203" rIns="0" bIns="42203" rtlCol="0" anchor="ctr">
            <a:noAutofit/>
          </a:bodyPr>
          <a:lstStyle/>
          <a:p>
            <a:pPr algn="ctr"/>
            <a:r>
              <a:rPr lang="ru-RU" sz="28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Основные принципы функционирования </a:t>
            </a:r>
            <a:br>
              <a:rPr lang="ru-RU" sz="28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</a:br>
            <a:r>
              <a:rPr lang="ru-RU" sz="28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Системы долговременного ухода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4E62DFAF-BF84-4577-ADB9-4FEE91349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12251" y="6420405"/>
            <a:ext cx="2057400" cy="365125"/>
          </a:xfrm>
        </p:spPr>
        <p:txBody>
          <a:bodyPr/>
          <a:lstStyle/>
          <a:p>
            <a:fld id="{FBB4EB2D-D22E-4EA7-85BB-A69C072CA73D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693723E6-E98B-4666-8EDB-D8A6BB13B76D}"/>
              </a:ext>
            </a:extLst>
          </p:cNvPr>
          <p:cNvSpPr txBox="1"/>
          <p:nvPr/>
        </p:nvSpPr>
        <p:spPr>
          <a:xfrm>
            <a:off x="395536" y="1052736"/>
            <a:ext cx="8352928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spcAft>
                <a:spcPts val="1200"/>
              </a:spcAft>
              <a:buAutoNum type="arabicPeriod"/>
            </a:pPr>
            <a:r>
              <a:rPr lang="ru-RU" sz="20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СДУ объединяет все необходимые </a:t>
            </a:r>
            <a:r>
              <a:rPr lang="ru-RU" sz="20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для человека</a:t>
            </a:r>
            <a:r>
              <a:rPr lang="ru-RU" sz="20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 элементы ухода, включая медицинскую составляющую, помогает ему реализовать собственный потенциал и организует межведомственное взаимодействие в этих целях.</a:t>
            </a:r>
          </a:p>
          <a:p>
            <a:pPr marL="342900" indent="-342900" algn="just">
              <a:spcAft>
                <a:spcPts val="1200"/>
              </a:spcAft>
              <a:buAutoNum type="arabicPeriod"/>
            </a:pPr>
            <a:r>
              <a:rPr lang="ru-RU" sz="20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СДУ создает </a:t>
            </a:r>
            <a:r>
              <a:rPr lang="ru-RU" sz="20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вокруг человека</a:t>
            </a:r>
            <a:r>
              <a:rPr lang="ru-RU" sz="20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 индивидуально сформированные программы работы каждого ведомства на основе объективных критериев оценки его состояния.</a:t>
            </a:r>
          </a:p>
          <a:p>
            <a:pPr marL="342900" indent="-342900" algn="just">
              <a:spcAft>
                <a:spcPts val="1200"/>
              </a:spcAft>
              <a:buAutoNum type="arabicPeriod"/>
            </a:pPr>
            <a:r>
              <a:rPr lang="ru-RU" sz="20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Координация между ведомствами в СДУ осуществляется без участия человека, путем обмена информацией на основе единого ИТ-решения.</a:t>
            </a:r>
          </a:p>
          <a:p>
            <a:pPr marL="342900" indent="-342900" algn="just">
              <a:spcAft>
                <a:spcPts val="1200"/>
              </a:spcAft>
              <a:buAutoNum type="arabicPeriod"/>
            </a:pPr>
            <a:r>
              <a:rPr lang="ru-RU" sz="20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Обслуживание и помощь в СДУ осуществляется специально обученным персоналом соответствующих ведомств, реализующих задачи по работе с человеком в рамках действующих функций и полномочий.</a:t>
            </a:r>
          </a:p>
          <a:p>
            <a:pPr marL="342900" indent="-342900" algn="just">
              <a:spcAft>
                <a:spcPts val="1200"/>
              </a:spcAft>
              <a:buAutoNum type="arabicPeriod"/>
            </a:pPr>
            <a:r>
              <a:rPr lang="ru-RU" sz="20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Эксплуатация СДУ предполагает создание новых современных инструментов финансирования предоставления услуг и помощи человеку.</a:t>
            </a:r>
          </a:p>
        </p:txBody>
      </p:sp>
    </p:spTree>
    <p:extLst>
      <p:ext uri="{BB962C8B-B14F-4D97-AF65-F5344CB8AC3E}">
        <p14:creationId xmlns:p14="http://schemas.microsoft.com/office/powerpoint/2010/main" val="28596249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A93CDF0C-3890-4066-A87D-2A5A09CF046B}"/>
              </a:ext>
            </a:extLst>
          </p:cNvPr>
          <p:cNvSpPr/>
          <p:nvPr/>
        </p:nvSpPr>
        <p:spPr>
          <a:xfrm>
            <a:off x="0" y="908720"/>
            <a:ext cx="9144000" cy="489534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E9B4E4EB-E2E1-4919-BBC1-8B57CDAB34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552" y="186942"/>
            <a:ext cx="7601550" cy="505754"/>
          </a:xfrm>
        </p:spPr>
        <p:txBody>
          <a:bodyPr vert="horz" lIns="0" tIns="42203" rIns="0" bIns="42203" rtlCol="0" anchor="ctr">
            <a:noAutofit/>
          </a:bodyPr>
          <a:lstStyle/>
          <a:p>
            <a:pPr algn="ctr"/>
            <a:r>
              <a:rPr lang="ru-RU" sz="28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Принципиальная схема функционирования                                                    Системы долговременного ухода</a:t>
            </a:r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xmlns="" id="{832247C3-5A81-4F8F-98A7-4497B8BE00A1}"/>
              </a:ext>
            </a:extLst>
          </p:cNvPr>
          <p:cNvSpPr/>
          <p:nvPr/>
        </p:nvSpPr>
        <p:spPr>
          <a:xfrm>
            <a:off x="35496" y="4725144"/>
            <a:ext cx="710386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38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</a:t>
            </a:r>
            <a:r>
              <a:rPr lang="ru-RU" sz="1600" i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"Неформальный уход" осуществляется лицами из окружения нуждающегося</a:t>
            </a:r>
          </a:p>
        </p:txBody>
      </p:sp>
      <p:sp>
        <p:nvSpPr>
          <p:cNvPr id="33" name="Прямоугольник: скругленные углы 32">
            <a:extLst>
              <a:ext uri="{FF2B5EF4-FFF2-40B4-BE49-F238E27FC236}">
                <a16:creationId xmlns:a16="http://schemas.microsoft.com/office/drawing/2014/main" xmlns="" id="{63FC543A-F7FA-4C4B-A422-B86ECD1601D0}"/>
              </a:ext>
            </a:extLst>
          </p:cNvPr>
          <p:cNvSpPr/>
          <p:nvPr/>
        </p:nvSpPr>
        <p:spPr>
          <a:xfrm>
            <a:off x="6777544" y="1412776"/>
            <a:ext cx="1907221" cy="2513916"/>
          </a:xfrm>
          <a:prstGeom prst="round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marL="158265" indent="-158265">
              <a:spcBef>
                <a:spcPct val="20000"/>
              </a:spcBef>
              <a:buClr>
                <a:srgbClr val="FFD200"/>
              </a:buClr>
              <a:buSzPct val="75000"/>
              <a:buFont typeface="Arial" charset="0"/>
              <a:buChar char="►"/>
            </a:pPr>
            <a:endParaRPr lang="ru-RU" sz="923" dirty="0">
              <a:solidFill>
                <a:srgbClr val="64646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9D6FFB14-0003-49DB-85DB-CE7FE6723256}"/>
              </a:ext>
            </a:extLst>
          </p:cNvPr>
          <p:cNvSpPr txBox="1"/>
          <p:nvPr/>
        </p:nvSpPr>
        <p:spPr>
          <a:xfrm>
            <a:off x="0" y="2492897"/>
            <a:ext cx="104360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277"/>
              </a:spcAft>
              <a:buSzPct val="75000"/>
            </a:pPr>
            <a:r>
              <a:rPr lang="ru-RU" sz="1400" dirty="0" smtClean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ГРАЖДАНЕ </a:t>
            </a:r>
            <a:r>
              <a:rPr lang="ru-RU" sz="14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РФ</a:t>
            </a:r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xmlns="" id="{2A2E9922-D1BD-44BA-91A0-6AE85B54D3EB}"/>
              </a:ext>
            </a:extLst>
          </p:cNvPr>
          <p:cNvSpPr/>
          <p:nvPr/>
        </p:nvSpPr>
        <p:spPr>
          <a:xfrm>
            <a:off x="1043608" y="1484784"/>
            <a:ext cx="1634866" cy="1382142"/>
          </a:xfrm>
          <a:prstGeom prst="round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marL="158265" indent="-158265">
              <a:spcBef>
                <a:spcPct val="20000"/>
              </a:spcBef>
              <a:buClr>
                <a:srgbClr val="FFD200"/>
              </a:buClr>
              <a:buSzPct val="75000"/>
              <a:buFont typeface="Arial" charset="0"/>
              <a:buChar char="►"/>
            </a:pPr>
            <a:endParaRPr lang="ru-RU" sz="923" dirty="0">
              <a:solidFill>
                <a:srgbClr val="64646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C2858AAD-D788-4C78-A99A-6662ABA1B250}"/>
              </a:ext>
            </a:extLst>
          </p:cNvPr>
          <p:cNvSpPr txBox="1"/>
          <p:nvPr/>
        </p:nvSpPr>
        <p:spPr>
          <a:xfrm>
            <a:off x="1165467" y="1532305"/>
            <a:ext cx="150443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277"/>
              </a:spcAft>
              <a:buSzPct val="75000"/>
            </a:pPr>
            <a:r>
              <a:rPr lang="ru-RU" sz="12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ОЦЕНКА ИНДИВИДУАЛЬНОЙ НУЖДАЕМОСТИ (ТИПИЗПЦИЯ)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770EE9D2-B81B-4322-A52B-6568710BFF05}"/>
              </a:ext>
            </a:extLst>
          </p:cNvPr>
          <p:cNvSpPr txBox="1"/>
          <p:nvPr/>
        </p:nvSpPr>
        <p:spPr>
          <a:xfrm>
            <a:off x="6804248" y="1497944"/>
            <a:ext cx="1880517" cy="19236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277"/>
              </a:spcAft>
              <a:buSzPct val="75000"/>
            </a:pPr>
            <a:r>
              <a:rPr lang="ru-RU" sz="12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ДОЛГОВРЕМЕННЫЙ   УХОД</a:t>
            </a:r>
          </a:p>
          <a:p>
            <a:pPr marL="247657" indent="-161196">
              <a:spcAft>
                <a:spcPts val="277"/>
              </a:spcAft>
              <a:buSzPct val="75000"/>
            </a:pPr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Компоненты:</a:t>
            </a:r>
          </a:p>
          <a:p>
            <a:pPr marL="247657" indent="-161196">
              <a:spcAft>
                <a:spcPts val="0"/>
              </a:spcAft>
              <a:buSzPct val="75000"/>
              <a:buFont typeface="Arial" panose="020B0604020202020204" pitchFamily="34" charset="0"/>
              <a:buChar char="•"/>
            </a:pPr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социальный патронаж</a:t>
            </a:r>
          </a:p>
          <a:p>
            <a:pPr marL="247657" indent="-161196">
              <a:spcAft>
                <a:spcPts val="0"/>
              </a:spcAft>
              <a:buSzPct val="75000"/>
              <a:buFont typeface="Arial" panose="020B0604020202020204" pitchFamily="34" charset="0"/>
              <a:buChar char="•"/>
            </a:pPr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медицинский патронаж</a:t>
            </a:r>
          </a:p>
          <a:p>
            <a:pPr marL="247657" indent="-161196">
              <a:spcAft>
                <a:spcPts val="0"/>
              </a:spcAft>
              <a:buSzPct val="75000"/>
              <a:buFont typeface="Arial" panose="020B0604020202020204" pitchFamily="34" charset="0"/>
              <a:buChar char="•"/>
            </a:pPr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реабилитация</a:t>
            </a:r>
          </a:p>
          <a:p>
            <a:pPr marL="247657" indent="-161196">
              <a:spcAft>
                <a:spcPts val="0"/>
              </a:spcAft>
              <a:buSzPct val="75000"/>
              <a:buFont typeface="Arial" panose="020B0604020202020204" pitchFamily="34" charset="0"/>
              <a:buChar char="•"/>
            </a:pPr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паллиатив</a:t>
            </a:r>
          </a:p>
          <a:p>
            <a:pPr marL="247657" indent="-161196">
              <a:spcAft>
                <a:spcPts val="0"/>
              </a:spcAft>
              <a:buSzPct val="75000"/>
              <a:buFont typeface="Arial" panose="020B0604020202020204" pitchFamily="34" charset="0"/>
              <a:buChar char="•"/>
            </a:pPr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неформальный уход*</a:t>
            </a:r>
          </a:p>
          <a:p>
            <a:pPr marL="247657" indent="-161196">
              <a:spcAft>
                <a:spcPts val="0"/>
              </a:spcAft>
              <a:buSzPct val="75000"/>
              <a:buFont typeface="Arial" panose="020B0604020202020204" pitchFamily="34" charset="0"/>
              <a:buChar char="•"/>
            </a:pPr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наличие ТСР</a:t>
            </a:r>
          </a:p>
          <a:p>
            <a:pPr marL="247657" indent="-161196">
              <a:spcAft>
                <a:spcPts val="0"/>
              </a:spcAft>
              <a:buSzPct val="75000"/>
              <a:buFont typeface="Arial" panose="020B0604020202020204" pitchFamily="34" charset="0"/>
              <a:buChar char="•"/>
            </a:pPr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обеспечение занятости</a:t>
            </a:r>
          </a:p>
        </p:txBody>
      </p:sp>
      <p:cxnSp>
        <p:nvCxnSpPr>
          <p:cNvPr id="40" name="Соединитель: уступ 39">
            <a:extLst>
              <a:ext uri="{FF2B5EF4-FFF2-40B4-BE49-F238E27FC236}">
                <a16:creationId xmlns:a16="http://schemas.microsoft.com/office/drawing/2014/main" xmlns="" id="{475ABA8A-3448-4E0F-95F2-CD32908F96CE}"/>
              </a:ext>
            </a:extLst>
          </p:cNvPr>
          <p:cNvCxnSpPr>
            <a:cxnSpLocks/>
          </p:cNvCxnSpPr>
          <p:nvPr/>
        </p:nvCxnSpPr>
        <p:spPr bwMode="auto">
          <a:xfrm rot="16200000" flipH="1" flipV="1">
            <a:off x="4556186" y="-1474391"/>
            <a:ext cx="31629" cy="5805964"/>
          </a:xfrm>
          <a:prstGeom prst="bentConnector3">
            <a:avLst>
              <a:gd name="adj1" fmla="val -667153"/>
            </a:avLst>
          </a:prstGeom>
          <a:ln>
            <a:headEnd type="none" w="med" len="med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7" name="Стрелка вправо 3">
            <a:extLst>
              <a:ext uri="{FF2B5EF4-FFF2-40B4-BE49-F238E27FC236}">
                <a16:creationId xmlns:a16="http://schemas.microsoft.com/office/drawing/2014/main" xmlns="" id="{33AFB7D0-B469-4BD3-B1C5-02888690971E}"/>
              </a:ext>
            </a:extLst>
          </p:cNvPr>
          <p:cNvSpPr/>
          <p:nvPr/>
        </p:nvSpPr>
        <p:spPr>
          <a:xfrm rot="5400000">
            <a:off x="771767" y="2083213"/>
            <a:ext cx="384494" cy="129115"/>
          </a:xfrm>
          <a:prstGeom prst="triangle">
            <a:avLst/>
          </a:prstGeom>
          <a:solidFill>
            <a:schemeClr val="bg1">
              <a:lumMod val="50000"/>
            </a:schemeClr>
          </a:solidFill>
        </p:spPr>
        <p:txBody>
          <a:bodyPr rtlCol="0" anchor="ctr">
            <a:noAutofit/>
          </a:bodyPr>
          <a:lstStyle/>
          <a:p>
            <a:pPr marL="158265" indent="-158265">
              <a:spcBef>
                <a:spcPct val="20000"/>
              </a:spcBef>
              <a:buClr>
                <a:srgbClr val="FFD200"/>
              </a:buClr>
              <a:buSzPct val="75000"/>
              <a:buFont typeface="Arial" charset="0"/>
              <a:buChar char="►"/>
            </a:pPr>
            <a:endParaRPr lang="ru-RU" sz="923" dirty="0">
              <a:solidFill>
                <a:srgbClr val="64646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" name="Прямоугольник: скругленные углы 47">
            <a:extLst>
              <a:ext uri="{FF2B5EF4-FFF2-40B4-BE49-F238E27FC236}">
                <a16:creationId xmlns:a16="http://schemas.microsoft.com/office/drawing/2014/main" xmlns="" id="{087C5D92-E72C-41BF-BE71-0F62C32AFB8E}"/>
              </a:ext>
            </a:extLst>
          </p:cNvPr>
          <p:cNvSpPr/>
          <p:nvPr/>
        </p:nvSpPr>
        <p:spPr>
          <a:xfrm>
            <a:off x="3842078" y="1465152"/>
            <a:ext cx="1849266" cy="3115976"/>
          </a:xfrm>
          <a:prstGeom prst="round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marL="158265" indent="-158265">
              <a:spcBef>
                <a:spcPct val="20000"/>
              </a:spcBef>
              <a:buClr>
                <a:srgbClr val="FFD200"/>
              </a:buClr>
              <a:buSzPct val="75000"/>
              <a:buFont typeface="Arial" charset="0"/>
              <a:buChar char="►"/>
            </a:pPr>
            <a:endParaRPr lang="ru-RU" sz="923" dirty="0">
              <a:solidFill>
                <a:srgbClr val="64646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E45CB09D-0389-4062-B3C3-5D623DD8E104}"/>
              </a:ext>
            </a:extLst>
          </p:cNvPr>
          <p:cNvSpPr txBox="1"/>
          <p:nvPr/>
        </p:nvSpPr>
        <p:spPr>
          <a:xfrm>
            <a:off x="3851920" y="1556792"/>
            <a:ext cx="1804530" cy="27469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277"/>
              </a:spcAft>
              <a:buSzPct val="75000"/>
            </a:pPr>
            <a:r>
              <a:rPr lang="ru-RU" sz="11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ОПРЕДЕЛЕНИЕ МЕТОДОВ И МЕСТ </a:t>
            </a:r>
            <a:br>
              <a:rPr lang="ru-RU" sz="11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</a:br>
            <a:r>
              <a:rPr lang="ru-RU" sz="11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УХОДА (МАРШРУТИЗАЦИЯ)</a:t>
            </a:r>
          </a:p>
          <a:p>
            <a:pPr marL="335582" indent="-158265">
              <a:spcAft>
                <a:spcPts val="0"/>
              </a:spcAft>
              <a:buSzPct val="75000"/>
              <a:buFont typeface="Arial" panose="020B0604020202020204" pitchFamily="34" charset="0"/>
              <a:buChar char="•"/>
            </a:pPr>
            <a:r>
              <a:rPr lang="ru-RU" sz="11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услуги и помощь на дому</a:t>
            </a:r>
          </a:p>
          <a:p>
            <a:pPr marL="335582" indent="-158265">
              <a:spcAft>
                <a:spcPts val="0"/>
              </a:spcAft>
              <a:buSzPct val="75000"/>
              <a:buFont typeface="Arial" panose="020B0604020202020204" pitchFamily="34" charset="0"/>
              <a:buChar char="•"/>
            </a:pPr>
            <a:r>
              <a:rPr lang="ru-RU" sz="11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услуги и помощь в учреждениях</a:t>
            </a:r>
          </a:p>
          <a:p>
            <a:pPr marL="335582" indent="-158265">
              <a:spcAft>
                <a:spcPts val="0"/>
              </a:spcAft>
              <a:buSzPct val="75000"/>
              <a:buFont typeface="Arial" panose="020B0604020202020204" pitchFamily="34" charset="0"/>
              <a:buChar char="•"/>
            </a:pPr>
            <a:endParaRPr lang="ru-RU" sz="1100" dirty="0">
              <a:latin typeface="Times New Roman" pitchFamily="18" charset="0"/>
              <a:ea typeface="Tahoma" panose="020B0604030504040204" pitchFamily="34" charset="0"/>
              <a:cs typeface="Times New Roman" pitchFamily="18" charset="0"/>
            </a:endParaRPr>
          </a:p>
          <a:p>
            <a:pPr marL="335582" indent="-158265">
              <a:spcAft>
                <a:spcPts val="0"/>
              </a:spcAft>
              <a:buSzPct val="75000"/>
              <a:buFont typeface="Arial" panose="020B0604020202020204" pitchFamily="34" charset="0"/>
              <a:buChar char="•"/>
            </a:pPr>
            <a:r>
              <a:rPr lang="ru-RU" sz="11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Социальные услуги, включая занятость</a:t>
            </a:r>
          </a:p>
          <a:p>
            <a:pPr marL="335582" indent="-158265">
              <a:spcAft>
                <a:spcPts val="0"/>
              </a:spcAft>
              <a:buSzPct val="75000"/>
              <a:buFont typeface="Arial" panose="020B0604020202020204" pitchFamily="34" charset="0"/>
              <a:buChar char="•"/>
            </a:pPr>
            <a:r>
              <a:rPr lang="ru-RU" sz="11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Медицинская помощь, паллиатив, реабилитация и лекарства</a:t>
            </a:r>
          </a:p>
          <a:p>
            <a:pPr marL="335582" indent="-158265">
              <a:spcAft>
                <a:spcPts val="0"/>
              </a:spcAft>
              <a:buSzPct val="75000"/>
              <a:buFont typeface="Arial" panose="020B0604020202020204" pitchFamily="34" charset="0"/>
              <a:buChar char="•"/>
            </a:pPr>
            <a:r>
              <a:rPr lang="ru-RU" sz="11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Направление на МСЭ</a:t>
            </a:r>
          </a:p>
        </p:txBody>
      </p: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xmlns="" id="{FEEC62AF-50CB-4600-801C-B50514C39445}"/>
              </a:ext>
            </a:extLst>
          </p:cNvPr>
          <p:cNvCxnSpPr/>
          <p:nvPr/>
        </p:nvCxnSpPr>
        <p:spPr bwMode="auto">
          <a:xfrm>
            <a:off x="3932722" y="3177816"/>
            <a:ext cx="1661723" cy="0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1" name="Стрелка: вправо 50">
            <a:extLst>
              <a:ext uri="{FF2B5EF4-FFF2-40B4-BE49-F238E27FC236}">
                <a16:creationId xmlns:a16="http://schemas.microsoft.com/office/drawing/2014/main" xmlns="" id="{90ABC6B7-3CB9-406F-8305-B6BF91C24960}"/>
              </a:ext>
            </a:extLst>
          </p:cNvPr>
          <p:cNvSpPr/>
          <p:nvPr/>
        </p:nvSpPr>
        <p:spPr>
          <a:xfrm>
            <a:off x="2821808" y="1700808"/>
            <a:ext cx="941084" cy="1350931"/>
          </a:xfrm>
          <a:prstGeom prst="rightArrow">
            <a:avLst>
              <a:gd name="adj1" fmla="val 70654"/>
              <a:gd name="adj2" fmla="val 52817"/>
            </a:avLst>
          </a:prstGeom>
          <a:solidFill>
            <a:schemeClr val="bg1">
              <a:lumMod val="85000"/>
            </a:schemeClr>
          </a:solidFill>
        </p:spPr>
        <p:txBody>
          <a:bodyPr rtlCol="0" anchor="ctr">
            <a:noAutofit/>
          </a:bodyPr>
          <a:lstStyle/>
          <a:p>
            <a:pPr algn="l">
              <a:spcBef>
                <a:spcPct val="20000"/>
              </a:spcBef>
              <a:buClr>
                <a:srgbClr val="FFD200"/>
              </a:buClr>
              <a:buSzPct val="75000"/>
            </a:pPr>
            <a:endParaRPr lang="ru-RU" sz="923" dirty="0">
              <a:solidFill>
                <a:srgbClr val="64646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" name="Стрелка: вправо 52">
            <a:extLst>
              <a:ext uri="{FF2B5EF4-FFF2-40B4-BE49-F238E27FC236}">
                <a16:creationId xmlns:a16="http://schemas.microsoft.com/office/drawing/2014/main" xmlns="" id="{BD3883FC-1499-4E02-B6E5-CCAE33B80213}"/>
              </a:ext>
            </a:extLst>
          </p:cNvPr>
          <p:cNvSpPr/>
          <p:nvPr/>
        </p:nvSpPr>
        <p:spPr>
          <a:xfrm>
            <a:off x="5770529" y="1700808"/>
            <a:ext cx="927829" cy="1350931"/>
          </a:xfrm>
          <a:prstGeom prst="rightArrow">
            <a:avLst>
              <a:gd name="adj1" fmla="val 70654"/>
              <a:gd name="adj2" fmla="val 52817"/>
            </a:avLst>
          </a:prstGeom>
          <a:solidFill>
            <a:schemeClr val="bg1">
              <a:lumMod val="85000"/>
            </a:schemeClr>
          </a:solidFill>
        </p:spPr>
        <p:txBody>
          <a:bodyPr rtlCol="0" anchor="ctr">
            <a:noAutofit/>
          </a:bodyPr>
          <a:lstStyle/>
          <a:p>
            <a:pPr algn="l">
              <a:spcBef>
                <a:spcPct val="20000"/>
              </a:spcBef>
              <a:buClr>
                <a:srgbClr val="FFD200"/>
              </a:buClr>
              <a:buSzPct val="75000"/>
            </a:pPr>
            <a:endParaRPr lang="ru-RU" sz="923" dirty="0">
              <a:solidFill>
                <a:srgbClr val="64646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4321B3F8-8ACA-4C3F-901F-A3A54E0E5F6B}"/>
              </a:ext>
            </a:extLst>
          </p:cNvPr>
          <p:cNvSpPr txBox="1"/>
          <p:nvPr/>
        </p:nvSpPr>
        <p:spPr>
          <a:xfrm>
            <a:off x="5796136" y="2274156"/>
            <a:ext cx="83637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277"/>
              </a:spcAft>
              <a:buSzPct val="75000"/>
            </a:pPr>
            <a:r>
              <a:rPr lang="ru-RU" sz="11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Программы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xmlns="" id="{A575E20E-1A3B-4C12-BCC6-1BA885088179}"/>
              </a:ext>
            </a:extLst>
          </p:cNvPr>
          <p:cNvSpPr/>
          <p:nvPr/>
        </p:nvSpPr>
        <p:spPr>
          <a:xfrm>
            <a:off x="1089901" y="2875002"/>
            <a:ext cx="163486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185"/>
              </a:spcAft>
              <a:buClr>
                <a:schemeClr val="accent2"/>
              </a:buClr>
              <a:buSzPct val="75000"/>
            </a:pPr>
            <a:r>
              <a:rPr lang="ru-RU" sz="10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Осуществляется мультидисциплинарной бригадой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xmlns="" id="{5C5EBE8C-0778-4A98-B301-3FBE5539C201}"/>
              </a:ext>
            </a:extLst>
          </p:cNvPr>
          <p:cNvSpPr/>
          <p:nvPr/>
        </p:nvSpPr>
        <p:spPr>
          <a:xfrm>
            <a:off x="7524328" y="5157192"/>
            <a:ext cx="14727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Система тарифообразования</a:t>
            </a:r>
          </a:p>
        </p:txBody>
      </p:sp>
      <p:pic>
        <p:nvPicPr>
          <p:cNvPr id="58" name="Рисунок 57">
            <a:extLst>
              <a:ext uri="{FF2B5EF4-FFF2-40B4-BE49-F238E27FC236}">
                <a16:creationId xmlns:a16="http://schemas.microsoft.com/office/drawing/2014/main" xmlns="" id="{B66F6DF9-7EE0-4847-AB2B-7247A2BA24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277" y="1889772"/>
            <a:ext cx="515994" cy="515994"/>
          </a:xfrm>
          <a:prstGeom prst="rect">
            <a:avLst/>
          </a:prstGeom>
        </p:spPr>
      </p:pic>
      <p:sp>
        <p:nvSpPr>
          <p:cNvPr id="25" name="Заголовок 1">
            <a:extLst>
              <a:ext uri="{FF2B5EF4-FFF2-40B4-BE49-F238E27FC236}">
                <a16:creationId xmlns:a16="http://schemas.microsoft.com/office/drawing/2014/main" xmlns="" id="{AA51E60A-0A93-414E-8956-CB2C242DC3E1}"/>
              </a:ext>
            </a:extLst>
          </p:cNvPr>
          <p:cNvSpPr txBox="1">
            <a:spLocks/>
          </p:cNvSpPr>
          <p:nvPr/>
        </p:nvSpPr>
        <p:spPr>
          <a:xfrm>
            <a:off x="251521" y="5877272"/>
            <a:ext cx="8640959" cy="966172"/>
          </a:xfrm>
          <a:prstGeom prst="rect">
            <a:avLst/>
          </a:prstGeom>
        </p:spPr>
        <p:txBody>
          <a:bodyPr vert="horz" lIns="0" tIns="42203" rIns="0" bIns="42203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 fontAlgn="auto">
              <a:spcAft>
                <a:spcPts val="0"/>
              </a:spcAft>
            </a:pPr>
            <a:r>
              <a:rPr lang="ru-RU" sz="18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В процессе функционирования СДУ человек получает помощь и услуги, в соответствии с индивидуальными объективными потребностями, а участники СДУ непрерывно отслеживают текущее состояние человека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1DB9648-A012-4EC1-A472-CEF251031B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40055" y="6467022"/>
            <a:ext cx="2057400" cy="365125"/>
          </a:xfrm>
        </p:spPr>
        <p:txBody>
          <a:bodyPr/>
          <a:lstStyle/>
          <a:p>
            <a:fld id="{FBB4EB2D-D22E-4EA7-85BB-A69C072CA73D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90EC96C8-943C-4C3B-83F5-CF2706F13770}"/>
              </a:ext>
            </a:extLst>
          </p:cNvPr>
          <p:cNvSpPr txBox="1"/>
          <p:nvPr/>
        </p:nvSpPr>
        <p:spPr>
          <a:xfrm>
            <a:off x="1041992" y="2301116"/>
            <a:ext cx="1729808" cy="4078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277"/>
              </a:spcAft>
              <a:buSzPct val="75000"/>
            </a:pPr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Здравоохранение</a:t>
            </a:r>
          </a:p>
          <a:p>
            <a:pPr algn="ctr">
              <a:spcAft>
                <a:spcPts val="277"/>
              </a:spcAft>
              <a:buSzPct val="75000"/>
            </a:pPr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Социальная помощь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23C86066-11B7-4F98-AF61-A0F33914137D}"/>
              </a:ext>
            </a:extLst>
          </p:cNvPr>
          <p:cNvSpPr txBox="1"/>
          <p:nvPr/>
        </p:nvSpPr>
        <p:spPr>
          <a:xfrm>
            <a:off x="2805922" y="2215897"/>
            <a:ext cx="74535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277"/>
              </a:spcAft>
              <a:buSzPct val="75000"/>
            </a:pPr>
            <a:r>
              <a:rPr lang="ru-RU" sz="10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Группы нуждаемости</a:t>
            </a:r>
          </a:p>
        </p:txBody>
      </p:sp>
      <p:pic>
        <p:nvPicPr>
          <p:cNvPr id="43" name="Рисунок 42">
            <a:extLst>
              <a:ext uri="{FF2B5EF4-FFF2-40B4-BE49-F238E27FC236}">
                <a16:creationId xmlns:a16="http://schemas.microsoft.com/office/drawing/2014/main" xmlns="" id="{F22C9EE6-D522-421B-845A-9DFC83E4400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5229200"/>
            <a:ext cx="360041" cy="360040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AD3566CB-29D6-481B-95AA-5802E88DDDF8}"/>
              </a:ext>
            </a:extLst>
          </p:cNvPr>
          <p:cNvSpPr/>
          <p:nvPr/>
        </p:nvSpPr>
        <p:spPr>
          <a:xfrm>
            <a:off x="467544" y="5157192"/>
            <a:ext cx="14546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Инфраструктура и обеспечение объектов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D8DE0BFC-5F54-4FC4-991C-EA1C46F4F58C}"/>
              </a:ext>
            </a:extLst>
          </p:cNvPr>
          <p:cNvSpPr/>
          <p:nvPr/>
        </p:nvSpPr>
        <p:spPr>
          <a:xfrm>
            <a:off x="2195736" y="5157192"/>
            <a:ext cx="1644707" cy="477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Межведомственное взаимодействие</a:t>
            </a:r>
          </a:p>
        </p:txBody>
      </p:sp>
      <p:pic>
        <p:nvPicPr>
          <p:cNvPr id="10" name="Рисунок 9" descr="Повторить">
            <a:extLst>
              <a:ext uri="{FF2B5EF4-FFF2-40B4-BE49-F238E27FC236}">
                <a16:creationId xmlns:a16="http://schemas.microsoft.com/office/drawing/2014/main" xmlns="" id="{A4652C20-3BD2-4F4D-B3E5-7D74F3246F3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763688" y="5157192"/>
            <a:ext cx="454372" cy="454372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3BAFC39D-F655-4A2E-8206-F48EAE7381DE}"/>
              </a:ext>
            </a:extLst>
          </p:cNvPr>
          <p:cNvSpPr/>
          <p:nvPr/>
        </p:nvSpPr>
        <p:spPr>
          <a:xfrm>
            <a:off x="4283968" y="5157192"/>
            <a:ext cx="169648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Квалифицированные кадры</a:t>
            </a:r>
          </a:p>
        </p:txBody>
      </p:sp>
      <p:pic>
        <p:nvPicPr>
          <p:cNvPr id="13" name="Рисунок 12" descr="Группа">
            <a:extLst>
              <a:ext uri="{FF2B5EF4-FFF2-40B4-BE49-F238E27FC236}">
                <a16:creationId xmlns:a16="http://schemas.microsoft.com/office/drawing/2014/main" xmlns="" id="{2A9D655D-2963-49AF-A326-C30A101D76F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779912" y="5157192"/>
            <a:ext cx="504056" cy="453237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9A5B43E1-0854-4548-A05F-BEDCDA933B88}"/>
              </a:ext>
            </a:extLst>
          </p:cNvPr>
          <p:cNvSpPr/>
          <p:nvPr/>
        </p:nvSpPr>
        <p:spPr>
          <a:xfrm>
            <a:off x="6300192" y="5157192"/>
            <a:ext cx="127260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ru-RU" sz="12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Система контроля качества</a:t>
            </a:r>
          </a:p>
        </p:txBody>
      </p:sp>
      <p:pic>
        <p:nvPicPr>
          <p:cNvPr id="16" name="Рисунок 15" descr="Знак одобрения">
            <a:extLst>
              <a:ext uri="{FF2B5EF4-FFF2-40B4-BE49-F238E27FC236}">
                <a16:creationId xmlns:a16="http://schemas.microsoft.com/office/drawing/2014/main" xmlns="" id="{E79DDC0C-2383-49A1-9AF0-0756CDBD013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5868144" y="5085184"/>
            <a:ext cx="453238" cy="453238"/>
          </a:xfrm>
          <a:prstGeom prst="rect">
            <a:avLst/>
          </a:prstGeom>
        </p:spPr>
      </p:pic>
      <p:pic>
        <p:nvPicPr>
          <p:cNvPr id="18" name="Рисунок 17" descr="Рукопожатие">
            <a:extLst>
              <a:ext uri="{FF2B5EF4-FFF2-40B4-BE49-F238E27FC236}">
                <a16:creationId xmlns:a16="http://schemas.microsoft.com/office/drawing/2014/main" xmlns="" id="{B5D931B9-0314-4656-A1F2-1326F01FE092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7092280" y="5085184"/>
            <a:ext cx="519900" cy="519900"/>
          </a:xfrm>
          <a:prstGeom prst="rect">
            <a:avLst/>
          </a:prstGeom>
        </p:spPr>
      </p:pic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3B9872B6-9CA6-46E0-AC96-EEBDCB518139}"/>
              </a:ext>
            </a:extLst>
          </p:cNvPr>
          <p:cNvCxnSpPr/>
          <p:nvPr/>
        </p:nvCxnSpPr>
        <p:spPr>
          <a:xfrm>
            <a:off x="153768" y="5085184"/>
            <a:ext cx="8666704" cy="0"/>
          </a:xfrm>
          <a:prstGeom prst="line">
            <a:avLst/>
          </a:prstGeom>
          <a:ln cmpd="dbl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2718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0" grpId="0"/>
      <p:bldP spid="33" grpId="0" animBg="1"/>
      <p:bldP spid="34" grpId="0"/>
      <p:bldP spid="35" grpId="0" animBg="1"/>
      <p:bldP spid="38" grpId="0"/>
      <p:bldP spid="39" grpId="0"/>
      <p:bldP spid="47" grpId="0" animBg="1"/>
      <p:bldP spid="48" grpId="0" animBg="1"/>
      <p:bldP spid="49" grpId="0"/>
      <p:bldP spid="51" grpId="0" animBg="1"/>
      <p:bldP spid="53" grpId="0" animBg="1"/>
      <p:bldP spid="54" grpId="0"/>
      <p:bldP spid="55" grpId="0"/>
      <p:bldP spid="57" grpId="0"/>
      <p:bldP spid="25" grpId="0"/>
      <p:bldP spid="27" grpId="0"/>
      <p:bldP spid="28" grpId="0"/>
      <p:bldP spid="7" grpId="0"/>
      <p:bldP spid="8" grpId="0"/>
      <p:bldP spid="11" grpId="0"/>
      <p:bldP spid="1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B392FC7-BC81-49D3-8D0C-DB7E601F4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188640"/>
            <a:ext cx="7886700" cy="46934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3228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8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Основные направления проектных решений при разработке СДУ</a:t>
            </a:r>
          </a:p>
        </p:txBody>
      </p:sp>
      <p:graphicFrame>
        <p:nvGraphicFramePr>
          <p:cNvPr id="93" name="Таблица 92">
            <a:extLst>
              <a:ext uri="{FF2B5EF4-FFF2-40B4-BE49-F238E27FC236}">
                <a16:creationId xmlns:a16="http://schemas.microsoft.com/office/drawing/2014/main" xmlns="" id="{6701B7D5-3E86-4929-B504-E2F4FAC2D0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4517508"/>
              </p:ext>
            </p:extLst>
          </p:nvPr>
        </p:nvGraphicFramePr>
        <p:xfrm>
          <a:off x="611561" y="1115345"/>
          <a:ext cx="7776864" cy="49526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288">
                  <a:extLst>
                    <a:ext uri="{9D8B030D-6E8A-4147-A177-3AD203B41FA5}">
                      <a16:colId xmlns:a16="http://schemas.microsoft.com/office/drawing/2014/main" xmlns="" val="4288430697"/>
                    </a:ext>
                  </a:extLst>
                </a:gridCol>
                <a:gridCol w="2592288">
                  <a:extLst>
                    <a:ext uri="{9D8B030D-6E8A-4147-A177-3AD203B41FA5}">
                      <a16:colId xmlns:a16="http://schemas.microsoft.com/office/drawing/2014/main" xmlns="" val="2237455503"/>
                    </a:ext>
                  </a:extLst>
                </a:gridCol>
                <a:gridCol w="2592288">
                  <a:extLst>
                    <a:ext uri="{9D8B030D-6E8A-4147-A177-3AD203B41FA5}">
                      <a16:colId xmlns:a16="http://schemas.microsoft.com/office/drawing/2014/main" xmlns="" val="1594086298"/>
                    </a:ext>
                  </a:extLst>
                </a:gridCol>
              </a:tblGrid>
              <a:tr h="15935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1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Tahoma" panose="020B060403050404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Учреждения </a:t>
                      </a:r>
                      <a:r>
                        <a:rPr lang="ru-RU" altLang="ru-RU" sz="1400" b="1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соцзащиты </a:t>
                      </a:r>
                      <a:r>
                        <a:rPr lang="ru-RU" altLang="ru-RU" sz="1400" b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 специализированность,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 современность,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открытость,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качество</a:t>
                      </a:r>
                    </a:p>
                  </a:txBody>
                  <a:tcPr marL="84406" marR="84406" marT="42203" marB="42203" anchor="ctr">
                    <a:lnL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Надомный уход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медицинский патронаж,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социальный патронаж,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поддержка семьи </a:t>
                      </a:r>
                    </a:p>
                  </a:txBody>
                  <a:tcPr marL="84406" marR="84406" marT="42203" marB="42203" anchor="ctr">
                    <a:lnL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1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Tahoma" panose="020B060403050404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Типизация </a:t>
                      </a:r>
                      <a:r>
                        <a:rPr lang="ru-RU" altLang="ru-RU" sz="1400" b="1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и маршрутизация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определение индивидуальной нуждаемости и направления к месту получения </a:t>
                      </a:r>
                      <a:r>
                        <a:rPr lang="ru-RU" altLang="ru-RU" sz="1400" b="0" dirty="0" err="1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соцуслуг</a:t>
                      </a:r>
                      <a:r>
                        <a:rPr lang="ru-RU" altLang="ru-RU" sz="1400" b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 и медпомощи</a:t>
                      </a:r>
                    </a:p>
                  </a:txBody>
                  <a:tcPr marL="84406" marR="84406" marT="42203" marB="42203" anchor="ctr">
                    <a:lnL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847279991"/>
                  </a:ext>
                </a:extLst>
              </a:tr>
              <a:tr h="162013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Обучение</a:t>
                      </a:r>
                      <a:r>
                        <a:rPr lang="en-US" alt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/</a:t>
                      </a:r>
                      <a:r>
                        <a:rPr lang="ru-RU" alt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кадры</a:t>
                      </a:r>
                      <a:endParaRPr lang="ru-RU" alt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ea typeface="Tahoma" panose="020B060403050404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обучение всех руководителей и специалистов пилотных субъектов РФ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новые программы дополнительного образования </a:t>
                      </a:r>
                    </a:p>
                  </a:txBody>
                  <a:tcPr marL="84406" marR="84406" marT="42203" marB="42203" anchor="ctr">
                    <a:lnL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1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Организация межведомственного взаимодействия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altLang="ru-RU" sz="1400" b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Социальная защита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altLang="ru-RU" sz="1400" b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Здравоохранение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altLang="ru-RU" sz="1400" b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Транспорт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altLang="ru-RU" sz="1400" b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Образование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altLang="ru-RU" sz="1400" b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Культура и проч.</a:t>
                      </a:r>
                    </a:p>
                  </a:txBody>
                  <a:tcPr marL="84406" marR="84406" marT="42203" marB="42203" anchor="ctr">
                    <a:lnL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Стандартизация </a:t>
                      </a:r>
                      <a:r>
                        <a:rPr lang="ru-RU" altLang="ru-RU" sz="1400" b="1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ухода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стандарты качества помощи и ухода в стационарах и на дому</a:t>
                      </a:r>
                    </a:p>
                  </a:txBody>
                  <a:tcPr marL="84406" marR="84406" marT="42203" marB="42203" anchor="ctr">
                    <a:lnL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6150478"/>
                  </a:ext>
                </a:extLst>
              </a:tr>
              <a:tr h="15677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dirty="0">
                        <a:solidFill>
                          <a:schemeClr val="tx1"/>
                        </a:solidFill>
                        <a:latin typeface="Times New Roman" pitchFamily="18" charset="0"/>
                        <a:ea typeface="Tahoma" panose="020B0604030504040204" pitchFamily="34" charset="0"/>
                        <a:cs typeface="Times New Roman" pitchFamily="18" charset="0"/>
                      </a:endParaRPr>
                    </a:p>
                  </a:txBody>
                  <a:tcPr marL="84406" marR="84406" marT="42203" marB="42203" anchor="ctr">
                    <a:lnL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1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Информирование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изменение отношения к старости и к заботе о пожилом человеке</a:t>
                      </a:r>
                    </a:p>
                  </a:txBody>
                  <a:tcPr marL="84406" marR="84406" marT="42203" marB="42203" anchor="ctr">
                    <a:lnL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Tahoma" panose="020B060403050404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в учреждениях </a:t>
                      </a:r>
                      <a:r>
                        <a:rPr lang="ru-RU" altLang="ru-RU" sz="1400" b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anose="020B0604030504040204" pitchFamily="34" charset="0"/>
                          <a:cs typeface="Times New Roman" pitchFamily="18" charset="0"/>
                        </a:rPr>
                        <a:t>здравоохранения </a:t>
                      </a:r>
                    </a:p>
                  </a:txBody>
                  <a:tcPr marL="84406" marR="84406" marT="42203" marB="42203" anchor="ctr">
                    <a:lnL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41059899"/>
                  </a:ext>
                </a:extLst>
              </a:tr>
            </a:tbl>
          </a:graphicData>
        </a:graphic>
      </p:graphicFrame>
      <p:sp>
        <p:nvSpPr>
          <p:cNvPr id="94" name="TextBox 93">
            <a:extLst>
              <a:ext uri="{FF2B5EF4-FFF2-40B4-BE49-F238E27FC236}">
                <a16:creationId xmlns:a16="http://schemas.microsoft.com/office/drawing/2014/main" xmlns="" id="{7E46C460-CF45-4D09-B114-A3866C4BBE19}"/>
              </a:ext>
            </a:extLst>
          </p:cNvPr>
          <p:cNvSpPr txBox="1"/>
          <p:nvPr/>
        </p:nvSpPr>
        <p:spPr>
          <a:xfrm>
            <a:off x="683568" y="4797152"/>
            <a:ext cx="235507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latin typeface="Times New Roman" pitchFamily="18" charset="0"/>
                <a:ea typeface="Tahoma" pitchFamily="34" charset="0"/>
                <a:cs typeface="Times New Roman" pitchFamily="18" charset="0"/>
              </a:rPr>
              <a:t>Паллиатив</a:t>
            </a:r>
          </a:p>
          <a:p>
            <a:pPr algn="ctr"/>
            <a:r>
              <a:rPr lang="ru-RU" sz="1400" dirty="0">
                <a:latin typeface="Times New Roman" pitchFamily="18" charset="0"/>
                <a:ea typeface="Tahoma" pitchFamily="34" charset="0"/>
                <a:cs typeface="Times New Roman" pitchFamily="18" charset="0"/>
              </a:rPr>
              <a:t>уход в учреждениях (соцзащита и здравоохранение)</a:t>
            </a:r>
          </a:p>
          <a:p>
            <a:pPr algn="ctr"/>
            <a:r>
              <a:rPr lang="ru-RU" sz="1400" dirty="0">
                <a:latin typeface="Times New Roman" pitchFamily="18" charset="0"/>
                <a:ea typeface="Tahoma" pitchFamily="34" charset="0"/>
                <a:cs typeface="Times New Roman" pitchFamily="18" charset="0"/>
              </a:rPr>
              <a:t>уход на дому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03A416F7-A995-473A-AC66-0BFF2A9C21F5}"/>
              </a:ext>
            </a:extLst>
          </p:cNvPr>
          <p:cNvSpPr txBox="1"/>
          <p:nvPr/>
        </p:nvSpPr>
        <p:spPr>
          <a:xfrm>
            <a:off x="5868144" y="4653136"/>
            <a:ext cx="23550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1400" b="1" dirty="0" smtClean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Реабилитация</a:t>
            </a:r>
            <a:endParaRPr lang="ru-RU" sz="1400" b="1" dirty="0">
              <a:latin typeface="Times New Roman" pitchFamily="18" charset="0"/>
              <a:ea typeface="Tahoma" panose="020B0604030504040204" pitchFamily="34" charset="0"/>
              <a:cs typeface="Times New Roman" pitchFamily="18" charset="0"/>
            </a:endParaRPr>
          </a:p>
        </p:txBody>
      </p:sp>
      <p:sp>
        <p:nvSpPr>
          <p:cNvPr id="96" name="Номер слайда 2">
            <a:extLst>
              <a:ext uri="{FF2B5EF4-FFF2-40B4-BE49-F238E27FC236}">
                <a16:creationId xmlns:a16="http://schemas.microsoft.com/office/drawing/2014/main" xmlns="" id="{A31D14E6-B09B-4CDD-9CB7-3A248EFD98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40055" y="6467022"/>
            <a:ext cx="2057400" cy="365125"/>
          </a:xfrm>
        </p:spPr>
        <p:txBody>
          <a:bodyPr/>
          <a:lstStyle/>
          <a:p>
            <a:fld id="{FBB4EB2D-D22E-4EA7-85BB-A69C072CA73D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43965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Pentagon 29">
            <a:extLst>
              <a:ext uri="{FF2B5EF4-FFF2-40B4-BE49-F238E27FC236}">
                <a16:creationId xmlns:a16="http://schemas.microsoft.com/office/drawing/2014/main" xmlns="" id="{E33D45E3-16F5-4DB5-8A8B-A07600A32BFA}"/>
              </a:ext>
            </a:extLst>
          </p:cNvPr>
          <p:cNvSpPr/>
          <p:nvPr/>
        </p:nvSpPr>
        <p:spPr>
          <a:xfrm>
            <a:off x="2884925" y="4454539"/>
            <a:ext cx="1750735" cy="398769"/>
          </a:xfrm>
          <a:prstGeom prst="homePlate">
            <a:avLst>
              <a:gd name="adj" fmla="val 22746"/>
            </a:avLst>
          </a:prstGeom>
          <a:solidFill>
            <a:schemeClr val="accent3">
              <a:lumMod val="60000"/>
              <a:lumOff val="40000"/>
            </a:schemeClr>
          </a:solidFill>
          <a:ln w="1270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ru-RU" sz="7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этапное дооснащение</a:t>
            </a:r>
            <a:br>
              <a:rPr lang="ru-RU" sz="7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7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реждений СДУ на основе</a:t>
            </a:r>
            <a:br>
              <a:rPr lang="ru-RU" sz="7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7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елевой номенклатуры</a:t>
            </a:r>
          </a:p>
        </p:txBody>
      </p:sp>
      <p:sp>
        <p:nvSpPr>
          <p:cNvPr id="307" name="Pentagon 29">
            <a:extLst>
              <a:ext uri="{FF2B5EF4-FFF2-40B4-BE49-F238E27FC236}">
                <a16:creationId xmlns:a16="http://schemas.microsoft.com/office/drawing/2014/main" xmlns="" id="{2AAE48FE-EAC0-4AAC-AE01-34E520574DFF}"/>
              </a:ext>
            </a:extLst>
          </p:cNvPr>
          <p:cNvSpPr/>
          <p:nvPr/>
        </p:nvSpPr>
        <p:spPr>
          <a:xfrm>
            <a:off x="4681910" y="3607331"/>
            <a:ext cx="3624020" cy="2094241"/>
          </a:xfrm>
          <a:prstGeom prst="homePlate">
            <a:avLst>
              <a:gd name="adj" fmla="val 9732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noFill/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81773" algn="ctr" defTabSz="844083">
              <a:defRPr/>
            </a:pPr>
            <a:r>
              <a:rPr lang="ru-RU" sz="92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ниторинг функционирования всех элементов созданной региональной СДУ</a:t>
            </a:r>
          </a:p>
        </p:txBody>
      </p:sp>
      <p:sp>
        <p:nvSpPr>
          <p:cNvPr id="306" name="Pentagon 29">
            <a:extLst>
              <a:ext uri="{FF2B5EF4-FFF2-40B4-BE49-F238E27FC236}">
                <a16:creationId xmlns:a16="http://schemas.microsoft.com/office/drawing/2014/main" xmlns="" id="{76A0CB7F-70AA-4757-98AE-224F074077D5}"/>
              </a:ext>
            </a:extLst>
          </p:cNvPr>
          <p:cNvSpPr/>
          <p:nvPr/>
        </p:nvSpPr>
        <p:spPr>
          <a:xfrm>
            <a:off x="2847141" y="1402247"/>
            <a:ext cx="5446841" cy="2119238"/>
          </a:xfrm>
          <a:prstGeom prst="homePlate">
            <a:avLst>
              <a:gd name="adj" fmla="val 9732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noFill/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>
              <a:defRPr/>
            </a:pPr>
            <a:r>
              <a:rPr lang="ru-RU" sz="92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ниторинг и методическая поддержка регионов при реализации</a:t>
            </a:r>
            <a:br>
              <a:rPr lang="ru-RU" sz="92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92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илотного проекта</a:t>
            </a:r>
            <a:br>
              <a:rPr lang="ru-RU" sz="92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92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создании региональной модели СДУ</a:t>
            </a:r>
          </a:p>
        </p:txBody>
      </p:sp>
      <p:sp>
        <p:nvSpPr>
          <p:cNvPr id="21" name="Pentagon 29">
            <a:extLst>
              <a:ext uri="{FF2B5EF4-FFF2-40B4-BE49-F238E27FC236}">
                <a16:creationId xmlns:a16="http://schemas.microsoft.com/office/drawing/2014/main" xmlns="" id="{6C245690-A198-498B-AAA2-25B6D65DE8CB}"/>
              </a:ext>
            </a:extLst>
          </p:cNvPr>
          <p:cNvSpPr/>
          <p:nvPr/>
        </p:nvSpPr>
        <p:spPr>
          <a:xfrm>
            <a:off x="948122" y="938793"/>
            <a:ext cx="1960615" cy="432000"/>
          </a:xfrm>
          <a:prstGeom prst="homePlate">
            <a:avLst>
              <a:gd name="adj" fmla="val 22746"/>
            </a:avLst>
          </a:prstGeom>
          <a:solidFill>
            <a:schemeClr val="accent3">
              <a:lumMod val="75000"/>
            </a:schemeClr>
          </a:solidFill>
          <a:ln w="3810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ru-RU" sz="83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тап 1. Диагностика ситуации и разработка методических решений</a:t>
            </a:r>
          </a:p>
        </p:txBody>
      </p:sp>
      <p:sp>
        <p:nvSpPr>
          <p:cNvPr id="19" name="AutoShape 21">
            <a:extLst>
              <a:ext uri="{FF2B5EF4-FFF2-40B4-BE49-F238E27FC236}">
                <a16:creationId xmlns:a16="http://schemas.microsoft.com/office/drawing/2014/main" xmlns="" id="{D8E0B631-FF7C-435A-9814-D41211DFDCD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785648" y="938793"/>
            <a:ext cx="1948999" cy="432000"/>
          </a:xfrm>
          <a:prstGeom prst="chevron">
            <a:avLst>
              <a:gd name="adj" fmla="val 22923"/>
            </a:avLst>
          </a:prstGeom>
          <a:solidFill>
            <a:schemeClr val="accent3">
              <a:lumMod val="75000"/>
            </a:schemeClr>
          </a:solidFill>
          <a:ln w="3810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>
              <a:defRPr/>
            </a:pPr>
            <a:r>
              <a:rPr lang="ru-RU" sz="831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тап 2. Внедрение решений</a:t>
            </a:r>
          </a:p>
        </p:txBody>
      </p:sp>
      <p:sp>
        <p:nvSpPr>
          <p:cNvPr id="18" name="AutoShape 21">
            <a:extLst>
              <a:ext uri="{FF2B5EF4-FFF2-40B4-BE49-F238E27FC236}">
                <a16:creationId xmlns:a16="http://schemas.microsoft.com/office/drawing/2014/main" xmlns="" id="{7977A041-303C-4F62-8111-6E4A4B054A2C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635659" y="938793"/>
            <a:ext cx="1900863" cy="432000"/>
          </a:xfrm>
          <a:prstGeom prst="chevron">
            <a:avLst>
              <a:gd name="adj" fmla="val 22923"/>
            </a:avLst>
          </a:prstGeom>
          <a:solidFill>
            <a:schemeClr val="accent3">
              <a:lumMod val="75000"/>
            </a:schemeClr>
          </a:solidFill>
          <a:ln w="3810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>
              <a:defRPr/>
            </a:pPr>
            <a:r>
              <a:rPr lang="ru-RU" sz="831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тап 3. Мониторинг реализации пилотного проекта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B392FC7-BC81-49D3-8D0C-DB7E601F4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6297"/>
            <a:ext cx="8231066" cy="34238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3228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8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Основные этапы реализации пилотного проекта</a:t>
            </a:r>
          </a:p>
        </p:txBody>
      </p:sp>
      <p:sp>
        <p:nvSpPr>
          <p:cNvPr id="17" name="AutoShape 21">
            <a:extLst>
              <a:ext uri="{FF2B5EF4-FFF2-40B4-BE49-F238E27FC236}">
                <a16:creationId xmlns:a16="http://schemas.microsoft.com/office/drawing/2014/main" xmlns="" id="{DD02CF41-AB2D-4B68-A88A-D85383BE493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427368" y="938793"/>
            <a:ext cx="1941075" cy="432000"/>
          </a:xfrm>
          <a:prstGeom prst="chevron">
            <a:avLst>
              <a:gd name="adj" fmla="val 22923"/>
            </a:avLst>
          </a:prstGeom>
          <a:solidFill>
            <a:schemeClr val="accent3">
              <a:lumMod val="75000"/>
            </a:schemeClr>
          </a:solidFill>
          <a:ln w="3810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>
              <a:defRPr/>
            </a:pPr>
            <a:r>
              <a:rPr lang="ru-RU" sz="831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тап 4. Подведение итогов пилотного проекта</a:t>
            </a: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xmlns="" id="{4F4FEB34-5E9B-4ACE-A0D2-14269001884E}"/>
              </a:ext>
            </a:extLst>
          </p:cNvPr>
          <p:cNvGrpSpPr/>
          <p:nvPr/>
        </p:nvGrpSpPr>
        <p:grpSpPr>
          <a:xfrm>
            <a:off x="957956" y="5746887"/>
            <a:ext cx="7361447" cy="289814"/>
            <a:chOff x="1037785" y="6037019"/>
            <a:chExt cx="7974901" cy="313965"/>
          </a:xfrm>
        </p:grpSpPr>
        <p:cxnSp>
          <p:nvCxnSpPr>
            <p:cNvPr id="22" name="Прямая со стрелкой 21">
              <a:extLst>
                <a:ext uri="{FF2B5EF4-FFF2-40B4-BE49-F238E27FC236}">
                  <a16:creationId xmlns:a16="http://schemas.microsoft.com/office/drawing/2014/main" xmlns="" id="{E252AD4B-CE41-4612-BFF1-3826F9A862FF}"/>
                </a:ext>
              </a:extLst>
            </p:cNvPr>
            <p:cNvCxnSpPr/>
            <p:nvPr/>
          </p:nvCxnSpPr>
          <p:spPr bwMode="auto">
            <a:xfrm>
              <a:off x="1037785" y="6212464"/>
              <a:ext cx="1980000" cy="0"/>
            </a:xfrm>
            <a:prstGeom prst="straightConnector1">
              <a:avLst/>
            </a:prstGeom>
            <a:solidFill>
              <a:srgbClr val="333333"/>
            </a:solidFill>
            <a:ln w="12700" cap="flat" cmpd="sng" algn="ctr">
              <a:solidFill>
                <a:schemeClr val="accent2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cxnSp>
          <p:nvCxnSpPr>
            <p:cNvPr id="23" name="Прямая со стрелкой 22">
              <a:extLst>
                <a:ext uri="{FF2B5EF4-FFF2-40B4-BE49-F238E27FC236}">
                  <a16:creationId xmlns:a16="http://schemas.microsoft.com/office/drawing/2014/main" xmlns="" id="{7E35D77D-2706-4253-9134-1ED50C824C1D}"/>
                </a:ext>
              </a:extLst>
            </p:cNvPr>
            <p:cNvCxnSpPr/>
            <p:nvPr/>
          </p:nvCxnSpPr>
          <p:spPr bwMode="auto">
            <a:xfrm>
              <a:off x="3041968" y="6212464"/>
              <a:ext cx="1980000" cy="0"/>
            </a:xfrm>
            <a:prstGeom prst="straightConnector1">
              <a:avLst/>
            </a:prstGeom>
            <a:solidFill>
              <a:srgbClr val="333333"/>
            </a:solidFill>
            <a:ln w="12700" cap="flat" cmpd="sng" algn="ctr">
              <a:solidFill>
                <a:schemeClr val="accent2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cxnSp>
          <p:nvCxnSpPr>
            <p:cNvPr id="24" name="Прямая со стрелкой 23">
              <a:extLst>
                <a:ext uri="{FF2B5EF4-FFF2-40B4-BE49-F238E27FC236}">
                  <a16:creationId xmlns:a16="http://schemas.microsoft.com/office/drawing/2014/main" xmlns="" id="{82D12AEC-CBD1-42E8-BE2B-F9897D8B2DC9}"/>
                </a:ext>
              </a:extLst>
            </p:cNvPr>
            <p:cNvCxnSpPr/>
            <p:nvPr/>
          </p:nvCxnSpPr>
          <p:spPr bwMode="auto">
            <a:xfrm>
              <a:off x="5039779" y="6212464"/>
              <a:ext cx="1980000" cy="0"/>
            </a:xfrm>
            <a:prstGeom prst="straightConnector1">
              <a:avLst/>
            </a:prstGeom>
            <a:solidFill>
              <a:srgbClr val="333333"/>
            </a:solidFill>
            <a:ln w="12700" cap="flat" cmpd="sng" algn="ctr">
              <a:solidFill>
                <a:schemeClr val="accent2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cxnSp>
          <p:nvCxnSpPr>
            <p:cNvPr id="25" name="Прямая со стрелкой 24">
              <a:extLst>
                <a:ext uri="{FF2B5EF4-FFF2-40B4-BE49-F238E27FC236}">
                  <a16:creationId xmlns:a16="http://schemas.microsoft.com/office/drawing/2014/main" xmlns="" id="{938AD9DA-0F0A-4F89-8CF1-2543CDDF9098}"/>
                </a:ext>
              </a:extLst>
            </p:cNvPr>
            <p:cNvCxnSpPr/>
            <p:nvPr/>
          </p:nvCxnSpPr>
          <p:spPr bwMode="auto">
            <a:xfrm>
              <a:off x="7032686" y="6212464"/>
              <a:ext cx="1980000" cy="0"/>
            </a:xfrm>
            <a:prstGeom prst="straightConnector1">
              <a:avLst/>
            </a:prstGeom>
            <a:solidFill>
              <a:srgbClr val="333333"/>
            </a:solidFill>
            <a:ln w="12700" cap="flat" cmpd="sng" algn="ctr">
              <a:solidFill>
                <a:schemeClr val="accent2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xmlns="" id="{6C22C920-E9A6-4F26-8E7D-14CCCE9A51B7}"/>
                </a:ext>
              </a:extLst>
            </p:cNvPr>
            <p:cNvSpPr txBox="1"/>
            <p:nvPr/>
          </p:nvSpPr>
          <p:spPr>
            <a:xfrm>
              <a:off x="1660606" y="6073964"/>
              <a:ext cx="715473" cy="27702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277"/>
                </a:spcAft>
                <a:buSzPct val="75000"/>
              </a:pPr>
              <a:r>
                <a:rPr lang="ru-RU" sz="83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арт 2018 –</a:t>
              </a:r>
              <a:br>
                <a:rPr lang="ru-RU" sz="83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ru-RU" sz="83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декабрь 2018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BEA95301-61CD-473D-BB79-CC11DAADBDE8}"/>
                </a:ext>
              </a:extLst>
            </p:cNvPr>
            <p:cNvSpPr txBox="1"/>
            <p:nvPr/>
          </p:nvSpPr>
          <p:spPr>
            <a:xfrm>
              <a:off x="3621778" y="6073964"/>
              <a:ext cx="814460" cy="27702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277"/>
                </a:spcAft>
                <a:buSzPct val="75000"/>
              </a:pPr>
              <a:r>
                <a:rPr lang="ru-RU" sz="83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декабрь 2018 –</a:t>
              </a:r>
              <a:br>
                <a:rPr lang="ru-RU" sz="83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ru-RU" sz="83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декабрь 2019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307DFD60-3928-4AAD-A806-D0B43460698A}"/>
                </a:ext>
              </a:extLst>
            </p:cNvPr>
            <p:cNvSpPr txBox="1"/>
            <p:nvPr/>
          </p:nvSpPr>
          <p:spPr>
            <a:xfrm>
              <a:off x="5733562" y="6070032"/>
              <a:ext cx="753678" cy="27702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277"/>
                </a:spcAft>
                <a:buSzPct val="75000"/>
              </a:pPr>
              <a:r>
                <a:rPr lang="ru-RU" sz="83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январь 2020 –</a:t>
              </a:r>
              <a:br>
                <a:rPr lang="ru-RU" sz="83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ru-RU" sz="83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август 2020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DAACB4F8-EFB4-47A9-B451-E21684A974E6}"/>
                </a:ext>
              </a:extLst>
            </p:cNvPr>
            <p:cNvSpPr txBox="1"/>
            <p:nvPr/>
          </p:nvSpPr>
          <p:spPr>
            <a:xfrm>
              <a:off x="7654955" y="6037019"/>
              <a:ext cx="864820" cy="27702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277"/>
                </a:spcAft>
                <a:buSzPct val="75000"/>
              </a:pPr>
              <a:r>
                <a:rPr lang="ru-RU" sz="83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ентябрь 2020 –</a:t>
              </a:r>
              <a:br>
                <a:rPr lang="ru-RU" sz="83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ru-RU" sz="83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декабрь 2020</a:t>
              </a:r>
            </a:p>
          </p:txBody>
        </p:sp>
      </p:grpSp>
      <p:cxnSp>
        <p:nvCxnSpPr>
          <p:cNvPr id="78" name="Прямая соединительная линия 77">
            <a:extLst>
              <a:ext uri="{FF2B5EF4-FFF2-40B4-BE49-F238E27FC236}">
                <a16:creationId xmlns:a16="http://schemas.microsoft.com/office/drawing/2014/main" xmlns="" id="{BCDE448F-0466-4562-8BC5-C0D53CA99E4F}"/>
              </a:ext>
            </a:extLst>
          </p:cNvPr>
          <p:cNvCxnSpPr/>
          <p:nvPr/>
        </p:nvCxnSpPr>
        <p:spPr bwMode="auto">
          <a:xfrm>
            <a:off x="2807970" y="1385864"/>
            <a:ext cx="0" cy="4452923"/>
          </a:xfrm>
          <a:prstGeom prst="line">
            <a:avLst/>
          </a:prstGeom>
          <a:solidFill>
            <a:srgbClr val="333333"/>
          </a:solidFill>
          <a:ln w="12700" cap="flat" cmpd="sng" algn="ctr">
            <a:solidFill>
              <a:schemeClr val="accent3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9" name="Прямая соединительная линия 78">
            <a:extLst>
              <a:ext uri="{FF2B5EF4-FFF2-40B4-BE49-F238E27FC236}">
                <a16:creationId xmlns:a16="http://schemas.microsoft.com/office/drawing/2014/main" xmlns="" id="{9178B580-C5DA-40D4-B18C-B396BE4498E9}"/>
              </a:ext>
            </a:extLst>
          </p:cNvPr>
          <p:cNvCxnSpPr/>
          <p:nvPr/>
        </p:nvCxnSpPr>
        <p:spPr bwMode="auto">
          <a:xfrm>
            <a:off x="4652104" y="1385864"/>
            <a:ext cx="0" cy="4452923"/>
          </a:xfrm>
          <a:prstGeom prst="line">
            <a:avLst/>
          </a:prstGeom>
          <a:solidFill>
            <a:srgbClr val="333333"/>
          </a:solidFill>
          <a:ln w="127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0" name="Прямая соединительная линия 79">
            <a:extLst>
              <a:ext uri="{FF2B5EF4-FFF2-40B4-BE49-F238E27FC236}">
                <a16:creationId xmlns:a16="http://schemas.microsoft.com/office/drawing/2014/main" xmlns="" id="{0A9F6B46-8C3E-49DC-85BB-EB18DED94DDF}"/>
              </a:ext>
            </a:extLst>
          </p:cNvPr>
          <p:cNvCxnSpPr/>
          <p:nvPr/>
        </p:nvCxnSpPr>
        <p:spPr bwMode="auto">
          <a:xfrm>
            <a:off x="6479796" y="1385864"/>
            <a:ext cx="0" cy="4452923"/>
          </a:xfrm>
          <a:prstGeom prst="line">
            <a:avLst/>
          </a:prstGeom>
          <a:solidFill>
            <a:srgbClr val="333333"/>
          </a:solidFill>
          <a:ln w="12700" cap="flat" cmpd="sng" algn="ctr">
            <a:solidFill>
              <a:schemeClr val="accent3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Прямая соединительная линия 80">
            <a:extLst>
              <a:ext uri="{FF2B5EF4-FFF2-40B4-BE49-F238E27FC236}">
                <a16:creationId xmlns:a16="http://schemas.microsoft.com/office/drawing/2014/main" xmlns="" id="{22A74069-1E74-4E0A-8486-3DD1DD14FC23}"/>
              </a:ext>
            </a:extLst>
          </p:cNvPr>
          <p:cNvCxnSpPr/>
          <p:nvPr/>
        </p:nvCxnSpPr>
        <p:spPr bwMode="auto">
          <a:xfrm>
            <a:off x="8319402" y="1385864"/>
            <a:ext cx="0" cy="4452923"/>
          </a:xfrm>
          <a:prstGeom prst="line">
            <a:avLst/>
          </a:prstGeom>
          <a:solidFill>
            <a:srgbClr val="333333"/>
          </a:solidFill>
          <a:ln w="12700" cap="flat" cmpd="sng" algn="ctr">
            <a:solidFill>
              <a:schemeClr val="accent3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1" name="Прямая соединительная линия 150">
            <a:extLst>
              <a:ext uri="{FF2B5EF4-FFF2-40B4-BE49-F238E27FC236}">
                <a16:creationId xmlns:a16="http://schemas.microsoft.com/office/drawing/2014/main" xmlns="" id="{1F5920DD-3B10-47AC-854C-DBD3D22EB823}"/>
              </a:ext>
            </a:extLst>
          </p:cNvPr>
          <p:cNvCxnSpPr/>
          <p:nvPr/>
        </p:nvCxnSpPr>
        <p:spPr bwMode="auto">
          <a:xfrm>
            <a:off x="948125" y="1402247"/>
            <a:ext cx="0" cy="4284253"/>
          </a:xfrm>
          <a:prstGeom prst="line">
            <a:avLst/>
          </a:prstGeom>
          <a:solidFill>
            <a:srgbClr val="333333"/>
          </a:solidFill>
          <a:ln w="12700" cap="flat" cmpd="sng" algn="ctr">
            <a:solidFill>
              <a:schemeClr val="accent3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52" name="Pentagon 29">
            <a:extLst>
              <a:ext uri="{FF2B5EF4-FFF2-40B4-BE49-F238E27FC236}">
                <a16:creationId xmlns:a16="http://schemas.microsoft.com/office/drawing/2014/main" xmlns="" id="{E4D90682-602C-41A2-8BA6-E76AFAD38FAE}"/>
              </a:ext>
            </a:extLst>
          </p:cNvPr>
          <p:cNvSpPr/>
          <p:nvPr/>
        </p:nvSpPr>
        <p:spPr>
          <a:xfrm>
            <a:off x="999245" y="1404150"/>
            <a:ext cx="924018" cy="398769"/>
          </a:xfrm>
          <a:prstGeom prst="homePlate">
            <a:avLst>
              <a:gd name="adj" fmla="val 22746"/>
            </a:avLst>
          </a:prstGeom>
          <a:solidFill>
            <a:schemeClr val="accent3">
              <a:lumMod val="60000"/>
              <a:lumOff val="40000"/>
            </a:schemeClr>
          </a:solidFill>
          <a:ln w="38100">
            <a:noFill/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>
              <a:defRPr/>
            </a:pPr>
            <a:r>
              <a:rPr lang="ru-RU" sz="7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дание методической базы СДУ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C847F401-A3D0-4BDF-BD1E-F0193B9696E7}"/>
              </a:ext>
            </a:extLst>
          </p:cNvPr>
          <p:cNvSpPr/>
          <p:nvPr/>
        </p:nvSpPr>
        <p:spPr>
          <a:xfrm rot="16200000">
            <a:off x="-282686" y="2326521"/>
            <a:ext cx="2126769" cy="2326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rtlCol="0" anchor="ctr">
            <a:noAutofit/>
          </a:bodyPr>
          <a:lstStyle/>
          <a:p>
            <a:pPr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ru-RU" sz="923" dirty="0">
                <a:solidFill>
                  <a:srgbClr val="64646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ДРЕГИОНАЛЬНЫЙ УРОВЕНЬ</a:t>
            </a:r>
          </a:p>
        </p:txBody>
      </p:sp>
      <p:sp>
        <p:nvSpPr>
          <p:cNvPr id="155" name="Прямоугольник 154">
            <a:extLst>
              <a:ext uri="{FF2B5EF4-FFF2-40B4-BE49-F238E27FC236}">
                <a16:creationId xmlns:a16="http://schemas.microsoft.com/office/drawing/2014/main" xmlns="" id="{4AEBAAD0-8F9C-41DD-B643-22A7521A42FE}"/>
              </a:ext>
            </a:extLst>
          </p:cNvPr>
          <p:cNvSpPr/>
          <p:nvPr/>
        </p:nvSpPr>
        <p:spPr>
          <a:xfrm rot="16200000">
            <a:off x="-284317" y="4520248"/>
            <a:ext cx="2130032" cy="2326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rtlCol="0" anchor="ctr">
            <a:noAutofit/>
          </a:bodyPr>
          <a:lstStyle/>
          <a:p>
            <a:pPr>
              <a:spcBef>
                <a:spcPct val="20000"/>
              </a:spcBef>
              <a:buClr>
                <a:srgbClr val="FFD200"/>
              </a:buClr>
              <a:buSzPct val="75000"/>
            </a:pPr>
            <a:r>
              <a:rPr lang="ru-RU" sz="923" dirty="0">
                <a:solidFill>
                  <a:srgbClr val="64646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ИОНАЛЬНЫЙ УРОВЕНЬ</a:t>
            </a:r>
          </a:p>
        </p:txBody>
      </p:sp>
      <p:cxnSp>
        <p:nvCxnSpPr>
          <p:cNvPr id="156" name="Прямая соединительная линия 155">
            <a:extLst>
              <a:ext uri="{FF2B5EF4-FFF2-40B4-BE49-F238E27FC236}">
                <a16:creationId xmlns:a16="http://schemas.microsoft.com/office/drawing/2014/main" xmlns="" id="{C0F9312C-D24F-423B-B769-B642174AD92E}"/>
              </a:ext>
            </a:extLst>
          </p:cNvPr>
          <p:cNvCxnSpPr>
            <a:cxnSpLocks/>
          </p:cNvCxnSpPr>
          <p:nvPr/>
        </p:nvCxnSpPr>
        <p:spPr bwMode="auto">
          <a:xfrm flipH="1">
            <a:off x="999244" y="3560734"/>
            <a:ext cx="7277538" cy="0"/>
          </a:xfrm>
          <a:prstGeom prst="line">
            <a:avLst/>
          </a:prstGeom>
          <a:solidFill>
            <a:srgbClr val="333333"/>
          </a:solidFill>
          <a:ln w="12700" cap="flat" cmpd="sng" algn="ctr">
            <a:solidFill>
              <a:schemeClr val="accent3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59" name="Pentagon 29">
            <a:extLst>
              <a:ext uri="{FF2B5EF4-FFF2-40B4-BE49-F238E27FC236}">
                <a16:creationId xmlns:a16="http://schemas.microsoft.com/office/drawing/2014/main" xmlns="" id="{EFBB18D2-29AA-4676-8FBE-F4B2AA9A0261}"/>
              </a:ext>
            </a:extLst>
          </p:cNvPr>
          <p:cNvSpPr/>
          <p:nvPr/>
        </p:nvSpPr>
        <p:spPr>
          <a:xfrm>
            <a:off x="1923265" y="3602732"/>
            <a:ext cx="2712395" cy="398769"/>
          </a:xfrm>
          <a:prstGeom prst="homePlate">
            <a:avLst>
              <a:gd name="adj" fmla="val 22746"/>
            </a:avLst>
          </a:prstGeom>
          <a:solidFill>
            <a:schemeClr val="accent3">
              <a:lumMod val="60000"/>
              <a:lumOff val="40000"/>
            </a:schemeClr>
          </a:solidFill>
          <a:ln w="38100">
            <a:noFill/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844083">
              <a:defRPr/>
            </a:pPr>
            <a:r>
              <a:rPr lang="ru-RU" sz="7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даптация методических решений СДУ с учетом специфики каждого региона</a:t>
            </a:r>
          </a:p>
        </p:txBody>
      </p:sp>
      <p:sp>
        <p:nvSpPr>
          <p:cNvPr id="161" name="Pentagon 29">
            <a:extLst>
              <a:ext uri="{FF2B5EF4-FFF2-40B4-BE49-F238E27FC236}">
                <a16:creationId xmlns:a16="http://schemas.microsoft.com/office/drawing/2014/main" xmlns="" id="{1A323216-9EE9-4943-82ED-16ACFB3899CE}"/>
              </a:ext>
            </a:extLst>
          </p:cNvPr>
          <p:cNvSpPr/>
          <p:nvPr/>
        </p:nvSpPr>
        <p:spPr>
          <a:xfrm>
            <a:off x="1923263" y="4028693"/>
            <a:ext cx="884706" cy="398769"/>
          </a:xfrm>
          <a:prstGeom prst="homePlate">
            <a:avLst>
              <a:gd name="adj" fmla="val 22746"/>
            </a:avLst>
          </a:prstGeom>
          <a:solidFill>
            <a:schemeClr val="accent3">
              <a:lumMod val="60000"/>
              <a:lumOff val="40000"/>
            </a:schemeClr>
          </a:solidFill>
          <a:ln w="38100">
            <a:noFill/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>
              <a:defRPr/>
            </a:pPr>
            <a:r>
              <a:rPr lang="ru-RU" sz="7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пуск </a:t>
            </a:r>
            <a:r>
              <a:rPr lang="ru-RU" sz="738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ординацион-ного</a:t>
            </a:r>
            <a:r>
              <a:rPr lang="ru-RU" sz="7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центра</a:t>
            </a:r>
          </a:p>
        </p:txBody>
      </p:sp>
      <p:sp>
        <p:nvSpPr>
          <p:cNvPr id="175" name="Pentagon 29">
            <a:extLst>
              <a:ext uri="{FF2B5EF4-FFF2-40B4-BE49-F238E27FC236}">
                <a16:creationId xmlns:a16="http://schemas.microsoft.com/office/drawing/2014/main" xmlns="" id="{A0ACD967-811D-4384-BB1E-28FAE0851CAA}"/>
              </a:ext>
            </a:extLst>
          </p:cNvPr>
          <p:cNvSpPr/>
          <p:nvPr/>
        </p:nvSpPr>
        <p:spPr>
          <a:xfrm>
            <a:off x="991236" y="1826048"/>
            <a:ext cx="924018" cy="398769"/>
          </a:xfrm>
          <a:prstGeom prst="homePlate">
            <a:avLst>
              <a:gd name="adj" fmla="val 22746"/>
            </a:avLst>
          </a:prstGeom>
          <a:solidFill>
            <a:schemeClr val="accent3">
              <a:lumMod val="60000"/>
              <a:lumOff val="40000"/>
            </a:schemeClr>
          </a:solidFill>
          <a:ln w="38100">
            <a:noFill/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>
              <a:defRPr/>
            </a:pPr>
            <a:r>
              <a:rPr lang="ru-RU" sz="7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ка системы обучения</a:t>
            </a:r>
          </a:p>
        </p:txBody>
      </p:sp>
      <p:sp>
        <p:nvSpPr>
          <p:cNvPr id="178" name="Pentagon 29">
            <a:extLst>
              <a:ext uri="{FF2B5EF4-FFF2-40B4-BE49-F238E27FC236}">
                <a16:creationId xmlns:a16="http://schemas.microsoft.com/office/drawing/2014/main" xmlns="" id="{BA17718A-8311-4AEF-98D9-886E0F1B005C}"/>
              </a:ext>
            </a:extLst>
          </p:cNvPr>
          <p:cNvSpPr/>
          <p:nvPr/>
        </p:nvSpPr>
        <p:spPr>
          <a:xfrm>
            <a:off x="1547664" y="2242291"/>
            <a:ext cx="1227098" cy="432000"/>
          </a:xfrm>
          <a:prstGeom prst="homePlate">
            <a:avLst>
              <a:gd name="adj" fmla="val 22746"/>
            </a:avLst>
          </a:prstGeom>
          <a:solidFill>
            <a:schemeClr val="accent3">
              <a:lumMod val="60000"/>
              <a:lumOff val="40000"/>
            </a:schemeClr>
          </a:solidFill>
          <a:ln w="38100">
            <a:noFill/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>
              <a:defRPr/>
            </a:pPr>
            <a:r>
              <a:rPr lang="ru-RU" sz="692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ка Программы работы с каждым учреждением</a:t>
            </a:r>
          </a:p>
        </p:txBody>
      </p:sp>
      <p:sp>
        <p:nvSpPr>
          <p:cNvPr id="179" name="Pentagon 29">
            <a:extLst>
              <a:ext uri="{FF2B5EF4-FFF2-40B4-BE49-F238E27FC236}">
                <a16:creationId xmlns:a16="http://schemas.microsoft.com/office/drawing/2014/main" xmlns="" id="{7B579830-C01D-4E74-8823-16DD82289A2A}"/>
              </a:ext>
            </a:extLst>
          </p:cNvPr>
          <p:cNvSpPr/>
          <p:nvPr/>
        </p:nvSpPr>
        <p:spPr>
          <a:xfrm>
            <a:off x="1865871" y="2697913"/>
            <a:ext cx="924018" cy="398769"/>
          </a:xfrm>
          <a:prstGeom prst="homePlate">
            <a:avLst>
              <a:gd name="adj" fmla="val 22746"/>
            </a:avLst>
          </a:prstGeom>
          <a:solidFill>
            <a:schemeClr val="accent3">
              <a:lumMod val="60000"/>
              <a:lumOff val="40000"/>
            </a:schemeClr>
          </a:solidFill>
          <a:ln w="38100">
            <a:noFill/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>
              <a:defRPr/>
            </a:pPr>
            <a:r>
              <a:rPr lang="ru-RU" sz="7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ка системы оценка качества</a:t>
            </a:r>
          </a:p>
        </p:txBody>
      </p:sp>
      <p:sp>
        <p:nvSpPr>
          <p:cNvPr id="186" name="Pentagon 29">
            <a:extLst>
              <a:ext uri="{FF2B5EF4-FFF2-40B4-BE49-F238E27FC236}">
                <a16:creationId xmlns:a16="http://schemas.microsoft.com/office/drawing/2014/main" xmlns="" id="{1BB1D881-4F22-4D3D-B091-0DEEF9EF0D6E}"/>
              </a:ext>
            </a:extLst>
          </p:cNvPr>
          <p:cNvSpPr/>
          <p:nvPr/>
        </p:nvSpPr>
        <p:spPr>
          <a:xfrm>
            <a:off x="1880007" y="4869160"/>
            <a:ext cx="1248054" cy="398769"/>
          </a:xfrm>
          <a:prstGeom prst="homePlate">
            <a:avLst>
              <a:gd name="adj" fmla="val 22746"/>
            </a:avLst>
          </a:prstGeom>
          <a:solidFill>
            <a:schemeClr val="accent3">
              <a:lumMod val="60000"/>
              <a:lumOff val="40000"/>
            </a:schemeClr>
          </a:solidFill>
          <a:ln w="38100">
            <a:noFill/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>
              <a:defRPr/>
            </a:pPr>
            <a:r>
              <a:rPr lang="ru-RU" sz="7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ализация программы комплексного обучения вовлеченных в СДУ </a:t>
            </a:r>
          </a:p>
        </p:txBody>
      </p:sp>
      <p:sp>
        <p:nvSpPr>
          <p:cNvPr id="190" name="Pentagon 29">
            <a:extLst>
              <a:ext uri="{FF2B5EF4-FFF2-40B4-BE49-F238E27FC236}">
                <a16:creationId xmlns:a16="http://schemas.microsoft.com/office/drawing/2014/main" xmlns="" id="{3C4AE47C-28FC-4108-8843-B4479325E862}"/>
              </a:ext>
            </a:extLst>
          </p:cNvPr>
          <p:cNvSpPr/>
          <p:nvPr/>
        </p:nvSpPr>
        <p:spPr>
          <a:xfrm>
            <a:off x="2849257" y="3123318"/>
            <a:ext cx="1348854" cy="398769"/>
          </a:xfrm>
          <a:prstGeom prst="homePlate">
            <a:avLst>
              <a:gd name="adj" fmla="val 22746"/>
            </a:avLst>
          </a:prstGeom>
          <a:solidFill>
            <a:schemeClr val="accent3">
              <a:lumMod val="60000"/>
              <a:lumOff val="40000"/>
            </a:schemeClr>
          </a:solidFill>
          <a:ln w="38100">
            <a:noFill/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>
              <a:lnSpc>
                <a:spcPts val="831"/>
              </a:lnSpc>
              <a:defRPr/>
            </a:pPr>
            <a:r>
              <a:rPr lang="ru-RU" sz="7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готовка предложений по совершенствованию межведомственного взаимодействия</a:t>
            </a:r>
          </a:p>
        </p:txBody>
      </p:sp>
      <p:pic>
        <p:nvPicPr>
          <p:cNvPr id="201" name="Рисунок 200">
            <a:extLst>
              <a:ext uri="{FF2B5EF4-FFF2-40B4-BE49-F238E27FC236}">
                <a16:creationId xmlns:a16="http://schemas.microsoft.com/office/drawing/2014/main" xmlns="" id="{98F0E420-93BE-4233-921B-4F4E3AF9994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0564" y="4128385"/>
            <a:ext cx="232615" cy="232615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02" name="Рисунок 201">
            <a:extLst>
              <a:ext uri="{FF2B5EF4-FFF2-40B4-BE49-F238E27FC236}">
                <a16:creationId xmlns:a16="http://schemas.microsoft.com/office/drawing/2014/main" xmlns="" id="{01683EF2-0CF3-4DEE-97D1-C16BDB7EC84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7914" y="1495739"/>
            <a:ext cx="232615" cy="232615"/>
          </a:xfrm>
          <a:prstGeom prst="rect">
            <a:avLst/>
          </a:prstGeom>
          <a:noFill/>
        </p:spPr>
      </p:pic>
      <p:pic>
        <p:nvPicPr>
          <p:cNvPr id="205" name="Рисунок 204">
            <a:extLst>
              <a:ext uri="{FF2B5EF4-FFF2-40B4-BE49-F238E27FC236}">
                <a16:creationId xmlns:a16="http://schemas.microsoft.com/office/drawing/2014/main" xmlns="" id="{675EDB75-3451-4FA1-9F06-855B01A62BA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1840" y="4975083"/>
            <a:ext cx="232615" cy="232615"/>
          </a:xfrm>
          <a:prstGeom prst="rect">
            <a:avLst/>
          </a:prstGeom>
          <a:noFill/>
        </p:spPr>
      </p:pic>
      <p:pic>
        <p:nvPicPr>
          <p:cNvPr id="206" name="Рисунок 205">
            <a:extLst>
              <a:ext uri="{FF2B5EF4-FFF2-40B4-BE49-F238E27FC236}">
                <a16:creationId xmlns:a16="http://schemas.microsoft.com/office/drawing/2014/main" xmlns="" id="{77441EEE-7CD7-4B77-BC9B-6A54DC0405F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0758" y="2353910"/>
            <a:ext cx="232615" cy="232615"/>
          </a:xfrm>
          <a:prstGeom prst="rect">
            <a:avLst/>
          </a:prstGeom>
          <a:noFill/>
        </p:spPr>
      </p:pic>
      <p:pic>
        <p:nvPicPr>
          <p:cNvPr id="285" name="Рисунок 284">
            <a:extLst>
              <a:ext uri="{FF2B5EF4-FFF2-40B4-BE49-F238E27FC236}">
                <a16:creationId xmlns:a16="http://schemas.microsoft.com/office/drawing/2014/main" xmlns="" id="{655A8EFC-F0EA-466E-A013-8C9D8CCD2AD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0758" y="2780157"/>
            <a:ext cx="232615" cy="232615"/>
          </a:xfrm>
          <a:prstGeom prst="rect">
            <a:avLst/>
          </a:prstGeom>
          <a:noFill/>
        </p:spPr>
      </p:pic>
      <p:pic>
        <p:nvPicPr>
          <p:cNvPr id="286" name="Рисунок 285">
            <a:extLst>
              <a:ext uri="{FF2B5EF4-FFF2-40B4-BE49-F238E27FC236}">
                <a16:creationId xmlns:a16="http://schemas.microsoft.com/office/drawing/2014/main" xmlns="" id="{0276EBC7-6254-4EB5-B44F-C735B4AD44E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9841" y="5371719"/>
            <a:ext cx="232615" cy="232615"/>
          </a:xfrm>
          <a:prstGeom prst="rect">
            <a:avLst/>
          </a:prstGeom>
          <a:noFill/>
        </p:spPr>
      </p:pic>
      <p:sp>
        <p:nvSpPr>
          <p:cNvPr id="287" name="Pentagon 29">
            <a:extLst>
              <a:ext uri="{FF2B5EF4-FFF2-40B4-BE49-F238E27FC236}">
                <a16:creationId xmlns:a16="http://schemas.microsoft.com/office/drawing/2014/main" xmlns="" id="{861A86B6-2611-4AA9-8CEA-D891F91B457F}"/>
              </a:ext>
            </a:extLst>
          </p:cNvPr>
          <p:cNvSpPr/>
          <p:nvPr/>
        </p:nvSpPr>
        <p:spPr>
          <a:xfrm>
            <a:off x="1863018" y="5297797"/>
            <a:ext cx="929724" cy="398769"/>
          </a:xfrm>
          <a:prstGeom prst="homePlate">
            <a:avLst>
              <a:gd name="adj" fmla="val 22746"/>
            </a:avLst>
          </a:prstGeom>
          <a:solidFill>
            <a:schemeClr val="accent3">
              <a:lumMod val="60000"/>
              <a:lumOff val="40000"/>
            </a:schemeClr>
          </a:solidFill>
          <a:ln w="38100">
            <a:noFill/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>
              <a:defRPr/>
            </a:pPr>
            <a:r>
              <a:rPr lang="ru-RU" sz="7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ирование региональной модели СДУ</a:t>
            </a:r>
          </a:p>
        </p:txBody>
      </p:sp>
      <p:pic>
        <p:nvPicPr>
          <p:cNvPr id="288" name="Рисунок 287">
            <a:extLst>
              <a:ext uri="{FF2B5EF4-FFF2-40B4-BE49-F238E27FC236}">
                <a16:creationId xmlns:a16="http://schemas.microsoft.com/office/drawing/2014/main" xmlns="" id="{FE0CA1C3-99A6-4B85-A6AE-57791301DEC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7970" y="5374635"/>
            <a:ext cx="232615" cy="232615"/>
          </a:xfrm>
          <a:prstGeom prst="rect">
            <a:avLst/>
          </a:prstGeom>
          <a:noFill/>
        </p:spPr>
      </p:pic>
      <p:pic>
        <p:nvPicPr>
          <p:cNvPr id="289" name="Рисунок 288">
            <a:extLst>
              <a:ext uri="{FF2B5EF4-FFF2-40B4-BE49-F238E27FC236}">
                <a16:creationId xmlns:a16="http://schemas.microsoft.com/office/drawing/2014/main" xmlns="" id="{0F377621-3C23-4008-A491-7512D476EF9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659" y="4551479"/>
            <a:ext cx="232615" cy="23261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</p:pic>
      <p:pic>
        <p:nvPicPr>
          <p:cNvPr id="290" name="Рисунок 289">
            <a:extLst>
              <a:ext uri="{FF2B5EF4-FFF2-40B4-BE49-F238E27FC236}">
                <a16:creationId xmlns:a16="http://schemas.microsoft.com/office/drawing/2014/main" xmlns="" id="{82097571-5E37-433B-82D4-DA4B49698B5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3688" y="4544608"/>
            <a:ext cx="232615" cy="23261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</p:pic>
      <p:pic>
        <p:nvPicPr>
          <p:cNvPr id="291" name="Рисунок 290">
            <a:extLst>
              <a:ext uri="{FF2B5EF4-FFF2-40B4-BE49-F238E27FC236}">
                <a16:creationId xmlns:a16="http://schemas.microsoft.com/office/drawing/2014/main" xmlns="" id="{60504A50-24D3-489D-9868-81ADABB7CEA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1135" y="4551479"/>
            <a:ext cx="232615" cy="232615"/>
          </a:xfrm>
          <a:prstGeom prst="rect">
            <a:avLst/>
          </a:prstGeom>
        </p:spPr>
      </p:pic>
      <p:sp>
        <p:nvSpPr>
          <p:cNvPr id="292" name="Pentagon 29">
            <a:extLst>
              <a:ext uri="{FF2B5EF4-FFF2-40B4-BE49-F238E27FC236}">
                <a16:creationId xmlns:a16="http://schemas.microsoft.com/office/drawing/2014/main" xmlns="" id="{C3C82510-21C4-4CF1-8327-0EBFB740BE51}"/>
              </a:ext>
            </a:extLst>
          </p:cNvPr>
          <p:cNvSpPr/>
          <p:nvPr/>
        </p:nvSpPr>
        <p:spPr>
          <a:xfrm>
            <a:off x="3275457" y="4027360"/>
            <a:ext cx="1354287" cy="398769"/>
          </a:xfrm>
          <a:prstGeom prst="homePlate">
            <a:avLst>
              <a:gd name="adj" fmla="val 22746"/>
            </a:avLst>
          </a:prstGeom>
          <a:solidFill>
            <a:schemeClr val="accent3">
              <a:lumMod val="60000"/>
              <a:lumOff val="40000"/>
            </a:schemeClr>
          </a:solidFill>
          <a:ln w="38100">
            <a:noFill/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844083">
              <a:defRPr/>
            </a:pPr>
            <a:r>
              <a:rPr lang="ru-RU" sz="7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пуск Интернет-сайта и «Горячей линии» СДУ</a:t>
            </a: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xmlns="" id="{85218CA4-C7F3-42B1-8361-3C8A499A634A}"/>
              </a:ext>
            </a:extLst>
          </p:cNvPr>
          <p:cNvGrpSpPr/>
          <p:nvPr/>
        </p:nvGrpSpPr>
        <p:grpSpPr>
          <a:xfrm>
            <a:off x="4689833" y="4115031"/>
            <a:ext cx="232615" cy="232615"/>
            <a:chOff x="6021866" y="3877919"/>
            <a:chExt cx="216000" cy="216000"/>
          </a:xfrm>
        </p:grpSpPr>
        <p:pic>
          <p:nvPicPr>
            <p:cNvPr id="293" name="Рисунок 292">
              <a:extLst>
                <a:ext uri="{FF2B5EF4-FFF2-40B4-BE49-F238E27FC236}">
                  <a16:creationId xmlns:a16="http://schemas.microsoft.com/office/drawing/2014/main" xmlns="" id="{9A611EFE-34A9-4AE1-A11D-AC050EC7CD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21866" y="3877919"/>
              <a:ext cx="216000" cy="216000"/>
            </a:xfrm>
            <a:prstGeom prst="rect">
              <a:avLst/>
            </a:prstGeom>
          </p:spPr>
        </p:pic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xmlns="" id="{B98E37E9-221E-4228-9D1F-813E412510B6}"/>
                </a:ext>
              </a:extLst>
            </p:cNvPr>
            <p:cNvSpPr txBox="1"/>
            <p:nvPr/>
          </p:nvSpPr>
          <p:spPr>
            <a:xfrm>
              <a:off x="6063479" y="3954393"/>
              <a:ext cx="120570" cy="5275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277"/>
                </a:spcAft>
                <a:buSzPct val="75000"/>
              </a:pPr>
              <a:r>
                <a:rPr lang="en-US" sz="369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WWW</a:t>
              </a:r>
              <a:endParaRPr lang="ru-RU" sz="369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pic>
        <p:nvPicPr>
          <p:cNvPr id="295" name="Рисунок 294">
            <a:extLst>
              <a:ext uri="{FF2B5EF4-FFF2-40B4-BE49-F238E27FC236}">
                <a16:creationId xmlns:a16="http://schemas.microsoft.com/office/drawing/2014/main" xmlns="" id="{E426FB2C-27FA-4653-8669-BEB74EB2577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8951" y="4128385"/>
            <a:ext cx="232615" cy="232615"/>
          </a:xfrm>
          <a:prstGeom prst="rect">
            <a:avLst/>
          </a:prstGeom>
          <a:noFill/>
        </p:spPr>
      </p:pic>
      <p:sp>
        <p:nvSpPr>
          <p:cNvPr id="296" name="Pentagon 29">
            <a:extLst>
              <a:ext uri="{FF2B5EF4-FFF2-40B4-BE49-F238E27FC236}">
                <a16:creationId xmlns:a16="http://schemas.microsoft.com/office/drawing/2014/main" xmlns="" id="{0044C2DF-8A70-44AC-A73A-124800476741}"/>
              </a:ext>
            </a:extLst>
          </p:cNvPr>
          <p:cNvSpPr/>
          <p:nvPr/>
        </p:nvSpPr>
        <p:spPr>
          <a:xfrm>
            <a:off x="3241379" y="5293558"/>
            <a:ext cx="1394280" cy="398769"/>
          </a:xfrm>
          <a:prstGeom prst="homePlate">
            <a:avLst>
              <a:gd name="adj" fmla="val 22746"/>
            </a:avLst>
          </a:prstGeom>
          <a:solidFill>
            <a:schemeClr val="accent3">
              <a:lumMod val="60000"/>
              <a:lumOff val="40000"/>
            </a:schemeClr>
          </a:solidFill>
          <a:ln w="38100">
            <a:noFill/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831"/>
              </a:lnSpc>
              <a:defRPr/>
            </a:pPr>
            <a:r>
              <a:rPr lang="ru-RU" sz="7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дание системы межведомственного взаимодействия</a:t>
            </a:r>
          </a:p>
        </p:txBody>
      </p:sp>
      <p:pic>
        <p:nvPicPr>
          <p:cNvPr id="297" name="Рисунок 296">
            <a:extLst>
              <a:ext uri="{FF2B5EF4-FFF2-40B4-BE49-F238E27FC236}">
                <a16:creationId xmlns:a16="http://schemas.microsoft.com/office/drawing/2014/main" xmlns="" id="{78293404-DD44-4AB2-8E79-BB466C858CC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0226" y="3205053"/>
            <a:ext cx="232615" cy="232615"/>
          </a:xfrm>
          <a:prstGeom prst="rect">
            <a:avLst/>
          </a:prstGeom>
          <a:noFill/>
        </p:spPr>
      </p:pic>
      <p:sp>
        <p:nvSpPr>
          <p:cNvPr id="298" name="Pentagon 29">
            <a:extLst>
              <a:ext uri="{FF2B5EF4-FFF2-40B4-BE49-F238E27FC236}">
                <a16:creationId xmlns:a16="http://schemas.microsoft.com/office/drawing/2014/main" xmlns="" id="{6E45DD6A-0438-4ACA-AF00-5B6F8145F504}"/>
              </a:ext>
            </a:extLst>
          </p:cNvPr>
          <p:cNvSpPr/>
          <p:nvPr/>
        </p:nvSpPr>
        <p:spPr>
          <a:xfrm>
            <a:off x="7374768" y="5293833"/>
            <a:ext cx="929724" cy="398769"/>
          </a:xfrm>
          <a:prstGeom prst="homePlate">
            <a:avLst>
              <a:gd name="adj" fmla="val 22746"/>
            </a:avLst>
          </a:prstGeom>
          <a:solidFill>
            <a:schemeClr val="accent3">
              <a:lumMod val="60000"/>
              <a:lumOff val="40000"/>
            </a:schemeClr>
          </a:solidFill>
          <a:ln w="38100">
            <a:noFill/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>
              <a:defRPr/>
            </a:pPr>
            <a:r>
              <a:rPr lang="ru-RU" sz="692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ирование план развития СДУ региона после 2020 г.</a:t>
            </a:r>
          </a:p>
        </p:txBody>
      </p:sp>
      <p:pic>
        <p:nvPicPr>
          <p:cNvPr id="299" name="Рисунок 298">
            <a:extLst>
              <a:ext uri="{FF2B5EF4-FFF2-40B4-BE49-F238E27FC236}">
                <a16:creationId xmlns:a16="http://schemas.microsoft.com/office/drawing/2014/main" xmlns="" id="{F1B23AFD-4EBF-4BE7-954A-5FB0A3FC929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380" y="5391665"/>
            <a:ext cx="232615" cy="232615"/>
          </a:xfrm>
          <a:prstGeom prst="rect">
            <a:avLst/>
          </a:prstGeom>
          <a:noFill/>
        </p:spPr>
      </p:pic>
      <p:pic>
        <p:nvPicPr>
          <p:cNvPr id="300" name="Рисунок 299">
            <a:extLst>
              <a:ext uri="{FF2B5EF4-FFF2-40B4-BE49-F238E27FC236}">
                <a16:creationId xmlns:a16="http://schemas.microsoft.com/office/drawing/2014/main" xmlns="" id="{DDBE1D97-C918-473C-95C3-16776CB1080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9340" y="1878284"/>
            <a:ext cx="232615" cy="232615"/>
          </a:xfrm>
          <a:prstGeom prst="rect">
            <a:avLst/>
          </a:prstGeom>
          <a:noFill/>
        </p:spPr>
      </p:pic>
      <p:sp>
        <p:nvSpPr>
          <p:cNvPr id="302" name="Pentagon 29">
            <a:extLst>
              <a:ext uri="{FF2B5EF4-FFF2-40B4-BE49-F238E27FC236}">
                <a16:creationId xmlns:a16="http://schemas.microsoft.com/office/drawing/2014/main" xmlns="" id="{A60F2BBC-805A-42EA-9F90-A07A393E40EA}"/>
              </a:ext>
            </a:extLst>
          </p:cNvPr>
          <p:cNvSpPr/>
          <p:nvPr/>
        </p:nvSpPr>
        <p:spPr>
          <a:xfrm>
            <a:off x="7371458" y="4873375"/>
            <a:ext cx="929724" cy="398769"/>
          </a:xfrm>
          <a:prstGeom prst="homePlate">
            <a:avLst>
              <a:gd name="adj" fmla="val 22746"/>
            </a:avLst>
          </a:prstGeom>
          <a:solidFill>
            <a:schemeClr val="accent3">
              <a:lumMod val="60000"/>
              <a:lumOff val="40000"/>
            </a:schemeClr>
          </a:solidFill>
          <a:ln w="38100">
            <a:noFill/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692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ирование отчета региона по результатам проекта</a:t>
            </a:r>
          </a:p>
        </p:txBody>
      </p:sp>
      <p:pic>
        <p:nvPicPr>
          <p:cNvPr id="303" name="Рисунок 302">
            <a:extLst>
              <a:ext uri="{FF2B5EF4-FFF2-40B4-BE49-F238E27FC236}">
                <a16:creationId xmlns:a16="http://schemas.microsoft.com/office/drawing/2014/main" xmlns="" id="{C044B38E-6C36-4C71-B7B7-BB1020DA19C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9403" y="4962846"/>
            <a:ext cx="232615" cy="232615"/>
          </a:xfrm>
          <a:prstGeom prst="rect">
            <a:avLst/>
          </a:prstGeom>
          <a:noFill/>
        </p:spPr>
      </p:pic>
      <p:sp>
        <p:nvSpPr>
          <p:cNvPr id="304" name="Pentagon 29">
            <a:extLst>
              <a:ext uri="{FF2B5EF4-FFF2-40B4-BE49-F238E27FC236}">
                <a16:creationId xmlns:a16="http://schemas.microsoft.com/office/drawing/2014/main" xmlns="" id="{5322A619-3F2F-40AD-943F-2B07F4259E51}"/>
              </a:ext>
            </a:extLst>
          </p:cNvPr>
          <p:cNvSpPr/>
          <p:nvPr/>
        </p:nvSpPr>
        <p:spPr>
          <a:xfrm>
            <a:off x="7164288" y="3117949"/>
            <a:ext cx="1129694" cy="398769"/>
          </a:xfrm>
          <a:prstGeom prst="homePlate">
            <a:avLst>
              <a:gd name="adj" fmla="val 22746"/>
            </a:avLst>
          </a:prstGeom>
          <a:solidFill>
            <a:schemeClr val="accent3">
              <a:lumMod val="60000"/>
              <a:lumOff val="40000"/>
            </a:schemeClr>
          </a:solidFill>
          <a:ln w="38100">
            <a:noFill/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692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рмирование рекомендаций по СДУ для всех </a:t>
            </a:r>
            <a:r>
              <a:rPr lang="ru-RU" sz="692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ионов РФ</a:t>
            </a:r>
            <a:endParaRPr lang="ru-RU" sz="692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05" name="Рисунок 304">
            <a:extLst>
              <a:ext uri="{FF2B5EF4-FFF2-40B4-BE49-F238E27FC236}">
                <a16:creationId xmlns:a16="http://schemas.microsoft.com/office/drawing/2014/main" xmlns="" id="{61755CA9-8A51-4358-8DEE-AB8B56031C0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7290" y="3205053"/>
            <a:ext cx="232615" cy="232615"/>
          </a:xfrm>
          <a:prstGeom prst="rect">
            <a:avLst/>
          </a:prstGeom>
          <a:noFill/>
          <a:ln>
            <a:solidFill>
              <a:schemeClr val="tx1">
                <a:lumMod val="20000"/>
                <a:lumOff val="80000"/>
              </a:schemeClr>
            </a:solidFill>
          </a:ln>
        </p:spPr>
      </p:pic>
      <p:grpSp>
        <p:nvGrpSpPr>
          <p:cNvPr id="69" name="Группа 68">
            <a:extLst>
              <a:ext uri="{FF2B5EF4-FFF2-40B4-BE49-F238E27FC236}">
                <a16:creationId xmlns:a16="http://schemas.microsoft.com/office/drawing/2014/main" xmlns="" id="{FAEA1C46-916C-4DF2-B11B-9B89FDFD6122}"/>
              </a:ext>
            </a:extLst>
          </p:cNvPr>
          <p:cNvGrpSpPr/>
          <p:nvPr/>
        </p:nvGrpSpPr>
        <p:grpSpPr>
          <a:xfrm>
            <a:off x="4705336" y="1435451"/>
            <a:ext cx="2639286" cy="383567"/>
            <a:chOff x="5112521" y="3646595"/>
            <a:chExt cx="2859226" cy="415531"/>
          </a:xfrm>
        </p:grpSpPr>
        <p:pic>
          <p:nvPicPr>
            <p:cNvPr id="67" name="Рисунок 66">
              <a:extLst>
                <a:ext uri="{FF2B5EF4-FFF2-40B4-BE49-F238E27FC236}">
                  <a16:creationId xmlns:a16="http://schemas.microsoft.com/office/drawing/2014/main" xmlns="" id="{D5ECE632-F4D6-4696-9D14-A2617FC1E3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12521" y="3664270"/>
              <a:ext cx="365923" cy="365923"/>
            </a:xfrm>
            <a:prstGeom prst="rect">
              <a:avLst/>
            </a:prstGeom>
            <a:noFill/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xmlns="" id="{9F939B08-64EC-431D-AFE0-BC109AE81159}"/>
                </a:ext>
              </a:extLst>
            </p:cNvPr>
            <p:cNvSpPr txBox="1"/>
            <p:nvPr/>
          </p:nvSpPr>
          <p:spPr>
            <a:xfrm>
              <a:off x="5531606" y="3646595"/>
              <a:ext cx="2440141" cy="4155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277"/>
                </a:spcAft>
                <a:buSzPct val="75000"/>
              </a:pPr>
              <a:r>
                <a:rPr lang="ru-RU" sz="83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осле завершения Этапа 2 в регионах будет создана вся инфраструктура функционирования СДУ </a:t>
              </a:r>
            </a:p>
          </p:txBody>
        </p:sp>
      </p:grpSp>
      <p:sp>
        <p:nvSpPr>
          <p:cNvPr id="64" name="Pentagon 29">
            <a:extLst>
              <a:ext uri="{FF2B5EF4-FFF2-40B4-BE49-F238E27FC236}">
                <a16:creationId xmlns:a16="http://schemas.microsoft.com/office/drawing/2014/main" xmlns="" id="{40A753BB-6D52-42BE-A43D-CB942B6DD559}"/>
              </a:ext>
            </a:extLst>
          </p:cNvPr>
          <p:cNvSpPr/>
          <p:nvPr/>
        </p:nvSpPr>
        <p:spPr>
          <a:xfrm>
            <a:off x="2204045" y="4450882"/>
            <a:ext cx="924018" cy="398769"/>
          </a:xfrm>
          <a:prstGeom prst="homePlate">
            <a:avLst>
              <a:gd name="adj" fmla="val 22746"/>
            </a:avLst>
          </a:prstGeom>
          <a:solidFill>
            <a:schemeClr val="accent3">
              <a:lumMod val="60000"/>
              <a:lumOff val="40000"/>
            </a:schemeClr>
          </a:solidFill>
          <a:ln w="1270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7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ицинский патронаж</a:t>
            </a:r>
          </a:p>
        </p:txBody>
      </p:sp>
      <p:sp>
        <p:nvSpPr>
          <p:cNvPr id="301" name="Pentagon 29">
            <a:extLst>
              <a:ext uri="{FF2B5EF4-FFF2-40B4-BE49-F238E27FC236}">
                <a16:creationId xmlns:a16="http://schemas.microsoft.com/office/drawing/2014/main" xmlns="" id="{45D416CE-5790-4C50-8CA1-3F139CBADEED}"/>
              </a:ext>
            </a:extLst>
          </p:cNvPr>
          <p:cNvSpPr/>
          <p:nvPr/>
        </p:nvSpPr>
        <p:spPr>
          <a:xfrm>
            <a:off x="1425575" y="4453114"/>
            <a:ext cx="884706" cy="398769"/>
          </a:xfrm>
          <a:prstGeom prst="homePlate">
            <a:avLst>
              <a:gd name="adj" fmla="val 22746"/>
            </a:avLst>
          </a:prstGeom>
          <a:solidFill>
            <a:schemeClr val="accent3">
              <a:lumMod val="60000"/>
              <a:lumOff val="40000"/>
            </a:schemeClr>
          </a:solidFill>
          <a:ln w="1270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>
              <a:defRPr/>
            </a:pPr>
            <a:r>
              <a:rPr lang="ru-RU" sz="7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циальный патронаж</a:t>
            </a:r>
          </a:p>
        </p:txBody>
      </p:sp>
      <p:sp>
        <p:nvSpPr>
          <p:cNvPr id="70" name="Номер слайда 2">
            <a:extLst>
              <a:ext uri="{FF2B5EF4-FFF2-40B4-BE49-F238E27FC236}">
                <a16:creationId xmlns:a16="http://schemas.microsoft.com/office/drawing/2014/main" xmlns="" id="{C7020BB5-46E4-4A48-A240-D50DABD4A5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40055" y="6467022"/>
            <a:ext cx="2057400" cy="365125"/>
          </a:xfrm>
        </p:spPr>
        <p:txBody>
          <a:bodyPr/>
          <a:lstStyle/>
          <a:p>
            <a:fld id="{FBB4EB2D-D22E-4EA7-85BB-A69C072CA73D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8CD6027A-FEF7-4191-B064-674481161AB0}"/>
              </a:ext>
            </a:extLst>
          </p:cNvPr>
          <p:cNvSpPr/>
          <p:nvPr/>
        </p:nvSpPr>
        <p:spPr>
          <a:xfrm>
            <a:off x="990746" y="6105080"/>
            <a:ext cx="8153254" cy="4783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D5F0DBD1-6792-4C1B-9E5C-9780728BF553}"/>
              </a:ext>
            </a:extLst>
          </p:cNvPr>
          <p:cNvSpPr txBox="1"/>
          <p:nvPr/>
        </p:nvSpPr>
        <p:spPr>
          <a:xfrm>
            <a:off x="1115616" y="6074132"/>
            <a:ext cx="79215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реализации пилотного проекта используется максимум существующих ресурсов, располагаемый в пилотных регионах</a:t>
            </a:r>
          </a:p>
        </p:txBody>
      </p:sp>
    </p:spTree>
    <p:extLst>
      <p:ext uri="{BB962C8B-B14F-4D97-AF65-F5344CB8AC3E}">
        <p14:creationId xmlns:p14="http://schemas.microsoft.com/office/powerpoint/2010/main" val="4145594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6" grpId="0" animBg="1"/>
      <p:bldP spid="307" grpId="0" animBg="1"/>
      <p:bldP spid="306" grpId="0" animBg="1"/>
      <p:bldP spid="21" grpId="0" animBg="1"/>
      <p:bldP spid="19" grpId="0" animBg="1"/>
      <p:bldP spid="18" grpId="0" animBg="1"/>
      <p:bldP spid="17" grpId="0" animBg="1"/>
      <p:bldP spid="152" grpId="0" animBg="1"/>
      <p:bldP spid="4" grpId="0" animBg="1"/>
      <p:bldP spid="155" grpId="0" animBg="1"/>
      <p:bldP spid="159" grpId="0" animBg="1"/>
      <p:bldP spid="161" grpId="0" animBg="1"/>
      <p:bldP spid="175" grpId="0" animBg="1"/>
      <p:bldP spid="178" grpId="0" animBg="1"/>
      <p:bldP spid="179" grpId="0" animBg="1"/>
      <p:bldP spid="186" grpId="0" animBg="1"/>
      <p:bldP spid="190" grpId="0" animBg="1"/>
      <p:bldP spid="287" grpId="0" animBg="1"/>
      <p:bldP spid="292" grpId="0" animBg="1"/>
      <p:bldP spid="296" grpId="0" animBg="1"/>
      <p:bldP spid="298" grpId="0" animBg="1"/>
      <p:bldP spid="302" grpId="0" animBg="1"/>
      <p:bldP spid="304" grpId="0" animBg="1"/>
      <p:bldP spid="64" grpId="0" animBg="1"/>
      <p:bldP spid="301" grpId="0" animBg="1"/>
      <p:bldP spid="5" grpId="0" animBg="1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xmlns="" id="{3C3A82F2-DA59-41EF-A0F8-30C7B77D5D0C}"/>
              </a:ext>
            </a:extLst>
          </p:cNvPr>
          <p:cNvCxnSpPr>
            <a:cxnSpLocks/>
          </p:cNvCxnSpPr>
          <p:nvPr/>
        </p:nvCxnSpPr>
        <p:spPr bwMode="auto">
          <a:xfrm>
            <a:off x="2595121" y="4611344"/>
            <a:ext cx="441488" cy="1484839"/>
          </a:xfrm>
          <a:prstGeom prst="line">
            <a:avLst/>
          </a:prstGeom>
          <a:noFill/>
          <a:ln w="22225" cap="flat" cmpd="sng">
            <a:solidFill>
              <a:schemeClr val="accent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xmlns="" id="{0B9886F8-FF3E-4D75-8CD1-BC07571D9441}"/>
              </a:ext>
            </a:extLst>
          </p:cNvPr>
          <p:cNvCxnSpPr>
            <a:cxnSpLocks/>
          </p:cNvCxnSpPr>
          <p:nvPr/>
        </p:nvCxnSpPr>
        <p:spPr bwMode="auto">
          <a:xfrm>
            <a:off x="2061697" y="2981220"/>
            <a:ext cx="487456" cy="1544010"/>
          </a:xfrm>
          <a:prstGeom prst="line">
            <a:avLst/>
          </a:prstGeom>
          <a:noFill/>
          <a:ln w="22225" cap="flat" cmpd="sng">
            <a:solidFill>
              <a:schemeClr val="accent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xmlns="" id="{F697C26A-A948-41BE-AA47-52DC14DA1C57}"/>
              </a:ext>
            </a:extLst>
          </p:cNvPr>
          <p:cNvCxnSpPr>
            <a:cxnSpLocks/>
          </p:cNvCxnSpPr>
          <p:nvPr/>
        </p:nvCxnSpPr>
        <p:spPr bwMode="auto">
          <a:xfrm>
            <a:off x="1619672" y="1552918"/>
            <a:ext cx="429776" cy="1381616"/>
          </a:xfrm>
          <a:prstGeom prst="line">
            <a:avLst/>
          </a:prstGeom>
          <a:noFill/>
          <a:ln w="22225" cap="flat" cmpd="sng">
            <a:solidFill>
              <a:schemeClr val="accent2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B392FC7-BC81-49D3-8D0C-DB7E601F4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188640"/>
            <a:ext cx="7886700" cy="46934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3228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ru-RU" sz="28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Организация реализации пилотного проекта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A4C91B60-81E8-47E9-AED9-DFCEB38EF403}"/>
              </a:ext>
            </a:extLst>
          </p:cNvPr>
          <p:cNvSpPr txBox="1"/>
          <p:nvPr/>
        </p:nvSpPr>
        <p:spPr>
          <a:xfrm rot="1053346">
            <a:off x="1536321" y="1035113"/>
            <a:ext cx="170496" cy="1860923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>
              <a:spcAft>
                <a:spcPts val="277"/>
              </a:spcAft>
              <a:buSzPct val="75000"/>
            </a:pPr>
            <a:r>
              <a:rPr lang="ru-RU" sz="1108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едеральный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D3126ACA-C9DD-47A7-88E6-09987ACE1A77}"/>
              </a:ext>
            </a:extLst>
          </p:cNvPr>
          <p:cNvSpPr txBox="1"/>
          <p:nvPr/>
        </p:nvSpPr>
        <p:spPr>
          <a:xfrm rot="1020163">
            <a:off x="1095941" y="2549163"/>
            <a:ext cx="170496" cy="1860923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>
              <a:spcAft>
                <a:spcPts val="277"/>
              </a:spcAft>
              <a:buSzPct val="75000"/>
            </a:pPr>
            <a:r>
              <a:rPr lang="ru-RU" sz="1108" dirty="0" err="1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дрегиональный</a:t>
            </a:r>
            <a:endParaRPr lang="ru-RU" sz="1108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06D08C91-1818-4681-A64D-2C9821828ADC}"/>
              </a:ext>
            </a:extLst>
          </p:cNvPr>
          <p:cNvSpPr txBox="1"/>
          <p:nvPr/>
        </p:nvSpPr>
        <p:spPr>
          <a:xfrm rot="1045553">
            <a:off x="670385" y="3987890"/>
            <a:ext cx="170496" cy="1860923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>
              <a:spcAft>
                <a:spcPts val="277"/>
              </a:spcAft>
              <a:buSzPct val="75000"/>
            </a:pPr>
            <a:r>
              <a:rPr lang="ru-RU" sz="1108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иональный</a:t>
            </a:r>
          </a:p>
        </p:txBody>
      </p:sp>
      <p:sp>
        <p:nvSpPr>
          <p:cNvPr id="8" name="Прямоугольный треугольник 7">
            <a:extLst>
              <a:ext uri="{FF2B5EF4-FFF2-40B4-BE49-F238E27FC236}">
                <a16:creationId xmlns:a16="http://schemas.microsoft.com/office/drawing/2014/main" xmlns="" id="{14725788-956A-4725-B316-17E5D4CDFF84}"/>
              </a:ext>
            </a:extLst>
          </p:cNvPr>
          <p:cNvSpPr/>
          <p:nvPr/>
        </p:nvSpPr>
        <p:spPr>
          <a:xfrm flipV="1">
            <a:off x="315626" y="1845174"/>
            <a:ext cx="1160030" cy="3690558"/>
          </a:xfrm>
          <a:prstGeom prst="rtTriangle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rtlCol="0" anchor="ctr">
            <a:noAutofit/>
          </a:bodyPr>
          <a:lstStyle/>
          <a:p>
            <a:pPr marL="158265" indent="-158265">
              <a:spcBef>
                <a:spcPct val="20000"/>
              </a:spcBef>
              <a:buClr>
                <a:srgbClr val="FFD200"/>
              </a:buClr>
              <a:buSzPct val="75000"/>
              <a:buFont typeface="Arial" charset="0"/>
              <a:buChar char="►"/>
            </a:pPr>
            <a:endParaRPr lang="ru-RU" sz="923" dirty="0">
              <a:solidFill>
                <a:srgbClr val="64646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8B083AEF-E1CB-4331-B557-AF097E862338}"/>
              </a:ext>
            </a:extLst>
          </p:cNvPr>
          <p:cNvSpPr txBox="1"/>
          <p:nvPr/>
        </p:nvSpPr>
        <p:spPr>
          <a:xfrm>
            <a:off x="359509" y="1553129"/>
            <a:ext cx="1138303" cy="2557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77"/>
              </a:spcAft>
              <a:buSzPct val="75000"/>
            </a:pPr>
            <a:r>
              <a:rPr lang="ru-RU" sz="831" dirty="0">
                <a:solidFill>
                  <a:srgbClr val="64646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епень обобщения результатов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30E75A5D-9353-475A-85B9-B1E527B85858}"/>
              </a:ext>
            </a:extLst>
          </p:cNvPr>
          <p:cNvSpPr txBox="1"/>
          <p:nvPr/>
        </p:nvSpPr>
        <p:spPr>
          <a:xfrm>
            <a:off x="3433697" y="1357949"/>
            <a:ext cx="113830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77"/>
              </a:spcAft>
              <a:buSzPct val="75000"/>
            </a:pPr>
            <a:r>
              <a:rPr lang="ru-RU" sz="1600" dirty="0">
                <a:solidFill>
                  <a:schemeClr val="accent2"/>
                </a:solidFill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Задачи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xmlns="" id="{BC20B799-2325-46D1-B7DB-9A08C2A53112}"/>
              </a:ext>
            </a:extLst>
          </p:cNvPr>
          <p:cNvCxnSpPr/>
          <p:nvPr/>
        </p:nvCxnSpPr>
        <p:spPr bwMode="auto">
          <a:xfrm flipV="1">
            <a:off x="2456145" y="2896577"/>
            <a:ext cx="6247385" cy="30600"/>
          </a:xfrm>
          <a:prstGeom prst="line">
            <a:avLst/>
          </a:prstGeom>
          <a:noFill/>
          <a:ln w="9525" cap="flat" cmpd="sng">
            <a:solidFill>
              <a:schemeClr val="accent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xmlns="" id="{B1DBDD80-5D47-4AAF-A3FF-2670260E77C3}"/>
              </a:ext>
            </a:extLst>
          </p:cNvPr>
          <p:cNvCxnSpPr/>
          <p:nvPr/>
        </p:nvCxnSpPr>
        <p:spPr bwMode="auto">
          <a:xfrm flipV="1">
            <a:off x="2925763" y="4473469"/>
            <a:ext cx="5748923" cy="30600"/>
          </a:xfrm>
          <a:prstGeom prst="line">
            <a:avLst/>
          </a:prstGeom>
          <a:noFill/>
          <a:ln w="9525" cap="flat" cmpd="sng">
            <a:solidFill>
              <a:schemeClr val="accent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xmlns="" id="{2EE23739-E831-419F-9E66-A88B6FE9ADFE}"/>
              </a:ext>
            </a:extLst>
          </p:cNvPr>
          <p:cNvCxnSpPr>
            <a:cxnSpLocks/>
          </p:cNvCxnSpPr>
          <p:nvPr/>
        </p:nvCxnSpPr>
        <p:spPr bwMode="auto">
          <a:xfrm>
            <a:off x="3427917" y="6092795"/>
            <a:ext cx="5246769" cy="0"/>
          </a:xfrm>
          <a:prstGeom prst="line">
            <a:avLst/>
          </a:prstGeom>
          <a:noFill/>
          <a:ln w="9525" cap="flat" cmpd="sng">
            <a:solidFill>
              <a:schemeClr val="accent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7DF7340C-ED0A-4289-AB11-8FD847D521D4}"/>
              </a:ext>
            </a:extLst>
          </p:cNvPr>
          <p:cNvSpPr txBox="1"/>
          <p:nvPr/>
        </p:nvSpPr>
        <p:spPr>
          <a:xfrm>
            <a:off x="6277903" y="1357949"/>
            <a:ext cx="124642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77"/>
              </a:spcAft>
              <a:buSzPct val="75000"/>
            </a:pPr>
            <a:r>
              <a:rPr lang="ru-RU" sz="1600" dirty="0">
                <a:solidFill>
                  <a:schemeClr val="accent2"/>
                </a:solidFill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Исполнители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DE9F555D-550B-4F3A-BC78-C9E29A2CF845}"/>
              </a:ext>
            </a:extLst>
          </p:cNvPr>
          <p:cNvSpPr txBox="1"/>
          <p:nvPr/>
        </p:nvSpPr>
        <p:spPr>
          <a:xfrm>
            <a:off x="7771339" y="1357949"/>
            <a:ext cx="113830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77"/>
              </a:spcAft>
              <a:buSzPct val="75000"/>
            </a:pPr>
            <a:r>
              <a:rPr lang="ru-RU" sz="1600" dirty="0">
                <a:solidFill>
                  <a:schemeClr val="accent2"/>
                </a:solidFill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Сроки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45ED23C1-D398-490B-99BE-C3AA874F91F5}"/>
              </a:ext>
            </a:extLst>
          </p:cNvPr>
          <p:cNvSpPr/>
          <p:nvPr/>
        </p:nvSpPr>
        <p:spPr>
          <a:xfrm>
            <a:off x="6084168" y="1916832"/>
            <a:ext cx="1273580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6730387" algn="l"/>
                <a:tab pos="6813623" algn="l"/>
              </a:tabLst>
            </a:pPr>
            <a:r>
              <a:rPr lang="ru-RU" sz="105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Минтруд России</a:t>
            </a:r>
          </a:p>
          <a:p>
            <a:pPr>
              <a:spcAft>
                <a:spcPts val="0"/>
              </a:spcAft>
              <a:tabLst>
                <a:tab pos="6730387" algn="l"/>
                <a:tab pos="6813623" algn="l"/>
              </a:tabLst>
            </a:pPr>
            <a:r>
              <a:rPr lang="ru-RU" sz="105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Минздрав России</a:t>
            </a:r>
          </a:p>
          <a:p>
            <a:pPr>
              <a:spcAft>
                <a:spcPts val="0"/>
              </a:spcAft>
              <a:tabLst>
                <a:tab pos="6730387" algn="l"/>
                <a:tab pos="6813623" algn="l"/>
              </a:tabLst>
            </a:pPr>
            <a:endParaRPr lang="ru-RU" sz="1050" dirty="0">
              <a:latin typeface="Times New Roman" pitchFamily="18" charset="0"/>
              <a:ea typeface="Tahoma" panose="020B0604030504040204" pitchFamily="34" charset="0"/>
              <a:cs typeface="Times New Roman" pitchFamily="18" charset="0"/>
            </a:endParaRPr>
          </a:p>
          <a:p>
            <a:pPr>
              <a:spcAft>
                <a:spcPts val="0"/>
              </a:spcAft>
              <a:tabLst>
                <a:tab pos="6730387" algn="l"/>
                <a:tab pos="6813623" algn="l"/>
              </a:tabLst>
            </a:pPr>
            <a:r>
              <a:rPr lang="ru-RU" sz="105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Рабочая группа ФОИВ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xmlns="" id="{3D13930A-DE69-40C3-B59E-BC418975CFA1}"/>
              </a:ext>
            </a:extLst>
          </p:cNvPr>
          <p:cNvSpPr/>
          <p:nvPr/>
        </p:nvSpPr>
        <p:spPr>
          <a:xfrm>
            <a:off x="2051720" y="1916832"/>
            <a:ext cx="3460249" cy="92333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11021" indent="-211021">
              <a:spcBef>
                <a:spcPts val="554"/>
              </a:spcBef>
              <a:buFont typeface="+mj-lt"/>
              <a:buAutoNum type="arabicPeriod"/>
            </a:pPr>
            <a:r>
              <a:rPr lang="ru-RU" sz="11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Совершенствование методических подходов к внедрению и функционированию СДУ</a:t>
            </a:r>
          </a:p>
          <a:p>
            <a:pPr marL="211021" indent="-211021">
              <a:spcBef>
                <a:spcPts val="554"/>
              </a:spcBef>
              <a:buFont typeface="+mj-lt"/>
              <a:buAutoNum type="arabicPeriod"/>
            </a:pPr>
            <a:r>
              <a:rPr lang="ru-RU" sz="11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Анализ опыта пилотных регионов</a:t>
            </a:r>
          </a:p>
          <a:p>
            <a:pPr marL="211021" indent="-211021">
              <a:spcBef>
                <a:spcPts val="554"/>
              </a:spcBef>
              <a:buFont typeface="+mj-lt"/>
              <a:buAutoNum type="arabicPeriod"/>
            </a:pPr>
            <a:r>
              <a:rPr lang="ru-RU" sz="11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Контроль реализации пилотного проекта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xmlns="" id="{E452DB63-02AE-44D3-AAA4-24AC4AC42740}"/>
              </a:ext>
            </a:extLst>
          </p:cNvPr>
          <p:cNvSpPr/>
          <p:nvPr/>
        </p:nvSpPr>
        <p:spPr>
          <a:xfrm>
            <a:off x="7763487" y="2056684"/>
            <a:ext cx="113830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tabLst>
                <a:tab pos="6730387" algn="l"/>
                <a:tab pos="6813623" algn="l"/>
              </a:tabLst>
            </a:pPr>
            <a:r>
              <a:rPr lang="ru-RU" sz="11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2018 – 2020 гг.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B5665D44-3575-4364-AE8B-CF457D7671D2}"/>
              </a:ext>
            </a:extLst>
          </p:cNvPr>
          <p:cNvSpPr/>
          <p:nvPr/>
        </p:nvSpPr>
        <p:spPr>
          <a:xfrm>
            <a:off x="5890984" y="3304371"/>
            <a:ext cx="191214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7058" defTabSz="726849">
              <a:spcAft>
                <a:spcPts val="0"/>
              </a:spcAft>
              <a:buClr>
                <a:schemeClr val="accent1"/>
              </a:buClr>
              <a:buSzPct val="75000"/>
              <a:defRPr/>
            </a:pPr>
            <a:r>
              <a:rPr kumimoji="1" lang="ru-RU" sz="9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БФ «Старость в радость»</a:t>
            </a:r>
          </a:p>
          <a:p>
            <a:pPr marL="167058" defTabSz="726849">
              <a:spcAft>
                <a:spcPts val="0"/>
              </a:spcAft>
              <a:buClr>
                <a:schemeClr val="accent1"/>
              </a:buClr>
              <a:buSzPct val="75000"/>
              <a:defRPr/>
            </a:pPr>
            <a:r>
              <a:rPr kumimoji="1" lang="ru-RU" sz="9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АНО АСИ</a:t>
            </a:r>
          </a:p>
          <a:p>
            <a:pPr marL="167058" defTabSz="726849">
              <a:spcAft>
                <a:spcPts val="0"/>
              </a:spcAft>
              <a:buClr>
                <a:schemeClr val="accent1"/>
              </a:buClr>
              <a:buSzPct val="75000"/>
              <a:defRPr/>
            </a:pPr>
            <a:r>
              <a:rPr kumimoji="1" lang="ru-RU" sz="9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Задействованные учреждения и подразделения Минздрава</a:t>
            </a:r>
          </a:p>
          <a:p>
            <a:pPr marL="167058" defTabSz="726849">
              <a:spcAft>
                <a:spcPts val="0"/>
              </a:spcAft>
              <a:buClr>
                <a:schemeClr val="accent1"/>
              </a:buClr>
              <a:buSzPct val="75000"/>
              <a:defRPr/>
            </a:pPr>
            <a:r>
              <a:rPr kumimoji="1" lang="ru-RU" sz="9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Задействованные учреждения и подразделения Минздрава</a:t>
            </a: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xmlns="" id="{0A479F59-21BD-4E45-9406-042863E9541F}"/>
              </a:ext>
            </a:extLst>
          </p:cNvPr>
          <p:cNvSpPr/>
          <p:nvPr/>
        </p:nvSpPr>
        <p:spPr>
          <a:xfrm>
            <a:off x="7719525" y="3640860"/>
            <a:ext cx="113830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tabLst>
                <a:tab pos="6730387" algn="l"/>
                <a:tab pos="6813623" algn="l"/>
              </a:tabLst>
            </a:pPr>
            <a:r>
              <a:rPr lang="ru-RU" sz="10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2018 – 2020 гг.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xmlns="" id="{B8CDD328-8A52-4C1A-82E4-A8FED1051ED4}"/>
              </a:ext>
            </a:extLst>
          </p:cNvPr>
          <p:cNvSpPr/>
          <p:nvPr/>
        </p:nvSpPr>
        <p:spPr>
          <a:xfrm>
            <a:off x="1444006" y="3221284"/>
            <a:ext cx="3720522" cy="113107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11021" indent="-211021">
              <a:spcBef>
                <a:spcPts val="554"/>
              </a:spcBef>
              <a:buFont typeface="+mj-lt"/>
              <a:buAutoNum type="arabicPeriod"/>
            </a:pPr>
            <a:r>
              <a:rPr lang="ru-RU" sz="105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Контроль хода реализации этапов проекта</a:t>
            </a:r>
          </a:p>
          <a:p>
            <a:pPr marL="211021" indent="-211021">
              <a:spcBef>
                <a:spcPts val="554"/>
              </a:spcBef>
              <a:buFont typeface="+mj-lt"/>
              <a:buAutoNum type="arabicPeriod"/>
            </a:pPr>
            <a:r>
              <a:rPr lang="ru-RU" sz="105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Методическая поддержка пилотных регионов, координация их действий и обеспечение обмена опытом </a:t>
            </a:r>
          </a:p>
          <a:p>
            <a:pPr marL="211021" indent="-211021">
              <a:spcBef>
                <a:spcPts val="554"/>
              </a:spcBef>
              <a:buFont typeface="+mj-lt"/>
              <a:buAutoNum type="arabicPeriod"/>
            </a:pPr>
            <a:r>
              <a:rPr lang="ru-RU" sz="105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Разработка системы обучения персонала в СДУ</a:t>
            </a:r>
          </a:p>
          <a:p>
            <a:pPr marL="211021" indent="-211021">
              <a:spcBef>
                <a:spcPts val="554"/>
              </a:spcBef>
              <a:buFont typeface="+mj-lt"/>
              <a:buAutoNum type="arabicPeriod" startAt="4"/>
            </a:pPr>
            <a:r>
              <a:rPr lang="ru-RU" sz="105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Система обучения и информирования граждан о СДУ</a:t>
            </a: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xmlns="" id="{5103793F-7C06-4861-B334-B65296AFAC54}"/>
              </a:ext>
            </a:extLst>
          </p:cNvPr>
          <p:cNvSpPr/>
          <p:nvPr/>
        </p:nvSpPr>
        <p:spPr>
          <a:xfrm>
            <a:off x="7719525" y="5217897"/>
            <a:ext cx="113830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tabLst>
                <a:tab pos="6730387" algn="l"/>
                <a:tab pos="6813623" algn="l"/>
              </a:tabLst>
            </a:pPr>
            <a:r>
              <a:rPr lang="ru-RU" sz="10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2018 – 2020 гг</a:t>
            </a:r>
            <a:r>
              <a:rPr lang="ru-RU" sz="83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D43C16ED-8010-4574-BDAA-2C3AF2EA13F2}"/>
              </a:ext>
            </a:extLst>
          </p:cNvPr>
          <p:cNvSpPr/>
          <p:nvPr/>
        </p:nvSpPr>
        <p:spPr>
          <a:xfrm>
            <a:off x="6015647" y="5018824"/>
            <a:ext cx="1662817" cy="4759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26849">
              <a:spcAft>
                <a:spcPts val="0"/>
              </a:spcAft>
              <a:buClr>
                <a:schemeClr val="accent1"/>
              </a:buClr>
              <a:buSzPct val="75000"/>
            </a:pPr>
            <a:r>
              <a:rPr kumimoji="1" lang="ru-RU" sz="83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Органы исполнительной власти субъектов Российской Федерации (пилотные регионы)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xmlns="" id="{5EB97FEC-F07D-412E-9B3A-1F5C8CACAF67}"/>
              </a:ext>
            </a:extLst>
          </p:cNvPr>
          <p:cNvSpPr/>
          <p:nvPr/>
        </p:nvSpPr>
        <p:spPr>
          <a:xfrm>
            <a:off x="911351" y="4787130"/>
            <a:ext cx="4283795" cy="126188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11021" indent="-211021">
              <a:spcBef>
                <a:spcPts val="554"/>
              </a:spcBef>
              <a:buFont typeface="+mj-lt"/>
              <a:buAutoNum type="arabicPeriod"/>
            </a:pPr>
            <a:r>
              <a:rPr lang="ru-RU" sz="11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Реализация мероприятий по созданию региональной СДУ, содержащихся в «дорожных картах» пилотных регионов</a:t>
            </a:r>
          </a:p>
          <a:p>
            <a:pPr marL="211021" indent="-211021">
              <a:spcBef>
                <a:spcPts val="554"/>
              </a:spcBef>
              <a:buFont typeface="+mj-lt"/>
              <a:buAutoNum type="arabicPeriod"/>
            </a:pPr>
            <a:r>
              <a:rPr lang="ru-RU" sz="11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Своевременное выделение финансирования из регионального бюджета</a:t>
            </a:r>
          </a:p>
          <a:p>
            <a:pPr marL="211021" indent="-211021">
              <a:spcBef>
                <a:spcPts val="554"/>
              </a:spcBef>
              <a:buFont typeface="+mj-lt"/>
              <a:buAutoNum type="arabicPeriod"/>
            </a:pPr>
            <a:r>
              <a:rPr lang="ru-RU" sz="1100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Подготовка по результатам пилотного проекта программы дальнейшего развития СДУ региона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90A5DE06-165F-487A-AC83-CC54EEE608BD}"/>
              </a:ext>
            </a:extLst>
          </p:cNvPr>
          <p:cNvSpPr/>
          <p:nvPr/>
        </p:nvSpPr>
        <p:spPr>
          <a:xfrm>
            <a:off x="359508" y="841787"/>
            <a:ext cx="83151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Реализация пилотного проекта по созданию региональных СДУ будет осуществляться в рамках трехуровневой системы</a:t>
            </a: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xmlns="" id="{6B3A36E6-D9EC-4D2D-BFED-84B01D15345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2069" y="3585106"/>
            <a:ext cx="232615" cy="232615"/>
          </a:xfrm>
          <a:prstGeom prst="rect">
            <a:avLst/>
          </a:prstGeom>
          <a:noFill/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xmlns="" id="{44BA03AE-AF0B-42E8-9F00-649AF8CA377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2069" y="3906419"/>
            <a:ext cx="232615" cy="232615"/>
          </a:xfrm>
          <a:prstGeom prst="rect">
            <a:avLst/>
          </a:prstGeom>
          <a:noFill/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xmlns="" id="{A44F35C4-5BA8-46CB-88F4-D3125AF2504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3501" y="3267827"/>
            <a:ext cx="232615" cy="232615"/>
          </a:xfrm>
          <a:prstGeom prst="rect">
            <a:avLst/>
          </a:prstGeom>
          <a:noFill/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xmlns="" id="{54B3899F-97A9-4BFA-9C90-7AF2D0BC0A5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8642" y="5722305"/>
            <a:ext cx="232615" cy="232615"/>
          </a:xfrm>
          <a:prstGeom prst="rect">
            <a:avLst/>
          </a:prstGeom>
          <a:solidFill>
            <a:schemeClr val="bg1"/>
          </a:solidFill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86303E62-61E0-4FF8-8D7E-85B86117E2F4}"/>
              </a:ext>
            </a:extLst>
          </p:cNvPr>
          <p:cNvGrpSpPr/>
          <p:nvPr/>
        </p:nvGrpSpPr>
        <p:grpSpPr>
          <a:xfrm>
            <a:off x="5300833" y="4795499"/>
            <a:ext cx="559002" cy="876827"/>
            <a:chOff x="5479273" y="4885038"/>
            <a:chExt cx="605586" cy="949896"/>
          </a:xfrm>
        </p:grpSpPr>
        <p:pic>
          <p:nvPicPr>
            <p:cNvPr id="51" name="Рисунок 50">
              <a:extLst>
                <a:ext uri="{FF2B5EF4-FFF2-40B4-BE49-F238E27FC236}">
                  <a16:creationId xmlns:a16="http://schemas.microsoft.com/office/drawing/2014/main" xmlns="" id="{3563AA7D-EC6E-451D-AA0A-4F87FCBCE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0770" y="5222413"/>
              <a:ext cx="252000" cy="252000"/>
            </a:xfrm>
            <a:prstGeom prst="rect">
              <a:avLst/>
            </a:prstGeom>
            <a:noFill/>
          </p:spPr>
        </p:pic>
        <p:pic>
          <p:nvPicPr>
            <p:cNvPr id="55" name="Рисунок 54">
              <a:extLst>
                <a:ext uri="{FF2B5EF4-FFF2-40B4-BE49-F238E27FC236}">
                  <a16:creationId xmlns:a16="http://schemas.microsoft.com/office/drawing/2014/main" xmlns="" id="{2C43285B-0AF4-4BBD-B8CA-9A8D76AE35A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9273" y="4885038"/>
              <a:ext cx="252000" cy="252000"/>
            </a:xfrm>
            <a:prstGeom prst="rect">
              <a:avLst/>
            </a:prstGeom>
            <a:noFill/>
          </p:spPr>
        </p:pic>
        <p:pic>
          <p:nvPicPr>
            <p:cNvPr id="58" name="Рисунок 57">
              <a:extLst>
                <a:ext uri="{FF2B5EF4-FFF2-40B4-BE49-F238E27FC236}">
                  <a16:creationId xmlns:a16="http://schemas.microsoft.com/office/drawing/2014/main" xmlns="" id="{4EC7AAB0-8554-46AB-9B6A-4658FAD32CE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97899" y="4887833"/>
              <a:ext cx="252000" cy="252000"/>
            </a:xfrm>
            <a:prstGeom prst="rect">
              <a:avLst/>
            </a:prstGeom>
            <a:noFill/>
          </p:spPr>
        </p:pic>
        <p:pic>
          <p:nvPicPr>
            <p:cNvPr id="59" name="Рисунок 58">
              <a:extLst>
                <a:ext uri="{FF2B5EF4-FFF2-40B4-BE49-F238E27FC236}">
                  <a16:creationId xmlns:a16="http://schemas.microsoft.com/office/drawing/2014/main" xmlns="" id="{387E4A14-1342-4F5C-95D3-5787614CB57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14593" y="5222413"/>
              <a:ext cx="252000" cy="252000"/>
            </a:xfrm>
            <a:prstGeom prst="rect">
              <a:avLst/>
            </a:prstGeom>
          </p:spPr>
        </p:pic>
        <p:grpSp>
          <p:nvGrpSpPr>
            <p:cNvPr id="60" name="Группа 59">
              <a:extLst>
                <a:ext uri="{FF2B5EF4-FFF2-40B4-BE49-F238E27FC236}">
                  <a16:creationId xmlns:a16="http://schemas.microsoft.com/office/drawing/2014/main" xmlns="" id="{62A03BB9-BE05-43E6-BA34-2001648F6283}"/>
                </a:ext>
              </a:extLst>
            </p:cNvPr>
            <p:cNvGrpSpPr/>
            <p:nvPr/>
          </p:nvGrpSpPr>
          <p:grpSpPr>
            <a:xfrm>
              <a:off x="5515504" y="5582934"/>
              <a:ext cx="252000" cy="252000"/>
              <a:chOff x="6021866" y="3877919"/>
              <a:chExt cx="216000" cy="216000"/>
            </a:xfrm>
          </p:grpSpPr>
          <p:pic>
            <p:nvPicPr>
              <p:cNvPr id="61" name="Рисунок 60">
                <a:extLst>
                  <a:ext uri="{FF2B5EF4-FFF2-40B4-BE49-F238E27FC236}">
                    <a16:creationId xmlns:a16="http://schemas.microsoft.com/office/drawing/2014/main" xmlns="" id="{CE7102A1-6FC4-47D5-8CB9-10B95998F0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21866" y="3877919"/>
                <a:ext cx="216000" cy="216000"/>
              </a:xfrm>
              <a:prstGeom prst="rect">
                <a:avLst/>
              </a:prstGeom>
            </p:spPr>
          </p:pic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xmlns="" id="{D897FE96-EE06-499D-9A60-0E3017BF24FB}"/>
                  </a:ext>
                </a:extLst>
              </p:cNvPr>
              <p:cNvSpPr txBox="1"/>
              <p:nvPr/>
            </p:nvSpPr>
            <p:spPr>
              <a:xfrm>
                <a:off x="6063479" y="3954393"/>
                <a:ext cx="120570" cy="5275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277"/>
                  </a:spcAft>
                  <a:buSzPct val="75000"/>
                </a:pPr>
                <a:r>
                  <a:rPr lang="en-US" sz="369" dirty="0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WWW</a:t>
                </a:r>
                <a:endParaRPr lang="ru-RU" sz="369" dirty="0" err="1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pic>
          <p:nvPicPr>
            <p:cNvPr id="63" name="Рисунок 62">
              <a:extLst>
                <a:ext uri="{FF2B5EF4-FFF2-40B4-BE49-F238E27FC236}">
                  <a16:creationId xmlns:a16="http://schemas.microsoft.com/office/drawing/2014/main" xmlns="" id="{ADF6B8CB-2378-4DE1-88C5-07A83BD223B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32859" y="5582934"/>
              <a:ext cx="252000" cy="25200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4543591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uDLRPOZEqxO0EFoo4Z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uDLRPOZEqxO0EFoo4Z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uDLRPOZEqxO0EFoo4Z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s4_Fcm5kuZkgNVz3.r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s4_Fcm5kuZkgNVz3.r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s4_Fcm5kuZkgNVz3.rA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НЭОЦЕНТР2016</Template>
  <TotalTime>55083</TotalTime>
  <Words>877</Words>
  <Application>Microsoft Office PowerPoint</Application>
  <PresentationFormat>Экран (4:3)</PresentationFormat>
  <Paragraphs>189</Paragraphs>
  <Slides>8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9" baseType="lpstr">
      <vt:lpstr>Тема Office</vt:lpstr>
      <vt:lpstr>Презентация PowerPoint</vt:lpstr>
      <vt:lpstr>О Системе долговременного ухода</vt:lpstr>
      <vt:lpstr>Основные направления Системы долговременного ухода</vt:lpstr>
      <vt:lpstr>Основные принципы функционирования  Системы долговременного ухода</vt:lpstr>
      <vt:lpstr>Принципиальная схема функционирования                                                    Системы долговременного ухода</vt:lpstr>
      <vt:lpstr>Основные направления проектных решений при разработке СДУ</vt:lpstr>
      <vt:lpstr>Основные этапы реализации пилотного проекта</vt:lpstr>
      <vt:lpstr>Организация реализации пилотного проекта</vt:lpstr>
    </vt:vector>
  </TitlesOfParts>
  <Company>Div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dmin</dc:creator>
  <cp:lastModifiedBy>Socpom</cp:lastModifiedBy>
  <cp:revision>2437</cp:revision>
  <cp:lastPrinted>2017-08-24T09:15:37Z</cp:lastPrinted>
  <dcterms:created xsi:type="dcterms:W3CDTF">2006-05-17T09:28:43Z</dcterms:created>
  <dcterms:modified xsi:type="dcterms:W3CDTF">2019-03-06T05:55:13Z</dcterms:modified>
</cp:coreProperties>
</file>